
<file path=[Content_Types].xml><?xml version="1.0" encoding="utf-8"?>
<Types xmlns="http://schemas.openxmlformats.org/package/2006/content-types">
  <Default Extension="png" ContentType="image/png"/>
  <Default Extension="bin" ContentType="application/vnd.openxmlformats-officedocument.oleObject"/>
  <Default Extension="xlsm" ContentType="application/vnd.ms-excel.sheet.macroEnabled.12"/>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3.xml" ContentType="application/vnd.openxmlformats-officedocument.drawingml.chart+xml"/>
  <Override PartName="/ppt/notesSlides/notesSlide6.xml" ContentType="application/vnd.openxmlformats-officedocument.presentationml.notesSlide+xml"/>
  <Override PartName="/ppt/charts/chart4.xml" ContentType="application/vnd.openxmlformats-officedocument.drawingml.chart+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9.xml" ContentType="application/vnd.openxmlformats-officedocument.drawingml.chart+xml"/>
  <Override PartName="/ppt/charts/style7.xml" ContentType="application/vnd.ms-office.chartstyle+xml"/>
  <Override PartName="/ppt/charts/colors7.xml" ContentType="application/vnd.ms-office.chartcolorstyle+xml"/>
  <Override PartName="/ppt/charts/chart10.xml" ContentType="application/vnd.openxmlformats-officedocument.drawingml.chart+xml"/>
  <Override PartName="/ppt/charts/style8.xml" ContentType="application/vnd.ms-office.chartstyle+xml"/>
  <Override PartName="/ppt/charts/colors8.xml" ContentType="application/vnd.ms-office.chartcolorstyle+xml"/>
  <Override PartName="/ppt/charts/chart11.xml" ContentType="application/vnd.openxmlformats-officedocument.drawingml.chart+xml"/>
  <Override PartName="/ppt/charts/style9.xml" ContentType="application/vnd.ms-office.chartstyle+xml"/>
  <Override PartName="/ppt/charts/colors9.xml" ContentType="application/vnd.ms-office.chartcolorstyle+xml"/>
  <Override PartName="/ppt/charts/chart12.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3.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4.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5.xml" ContentType="application/vnd.openxmlformats-officedocument.drawingml.chart+xml"/>
  <Override PartName="/ppt/charts/style13.xml" ContentType="application/vnd.ms-office.chartstyle+xml"/>
  <Override PartName="/ppt/charts/colors13.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939" r:id="rId1"/>
  </p:sldMasterIdLst>
  <p:notesMasterIdLst>
    <p:notesMasterId r:id="rId65"/>
  </p:notesMasterIdLst>
  <p:sldIdLst>
    <p:sldId id="256" r:id="rId2"/>
    <p:sldId id="479" r:id="rId3"/>
    <p:sldId id="480" r:id="rId4"/>
    <p:sldId id="481" r:id="rId5"/>
    <p:sldId id="482" r:id="rId6"/>
    <p:sldId id="456" r:id="rId7"/>
    <p:sldId id="305" r:id="rId8"/>
    <p:sldId id="335" r:id="rId9"/>
    <p:sldId id="459" r:id="rId10"/>
    <p:sldId id="460" r:id="rId11"/>
    <p:sldId id="337" r:id="rId12"/>
    <p:sldId id="483" r:id="rId13"/>
    <p:sldId id="340" r:id="rId14"/>
    <p:sldId id="377" r:id="rId15"/>
    <p:sldId id="284" r:id="rId16"/>
    <p:sldId id="341" r:id="rId17"/>
    <p:sldId id="342" r:id="rId18"/>
    <p:sldId id="343" r:id="rId19"/>
    <p:sldId id="344" r:id="rId20"/>
    <p:sldId id="303" r:id="rId21"/>
    <p:sldId id="314" r:id="rId22"/>
    <p:sldId id="304" r:id="rId23"/>
    <p:sldId id="345" r:id="rId24"/>
    <p:sldId id="346" r:id="rId25"/>
    <p:sldId id="347" r:id="rId26"/>
    <p:sldId id="312" r:id="rId27"/>
    <p:sldId id="313" r:id="rId28"/>
    <p:sldId id="348" r:id="rId29"/>
    <p:sldId id="349" r:id="rId30"/>
    <p:sldId id="350" r:id="rId31"/>
    <p:sldId id="356" r:id="rId32"/>
    <p:sldId id="357" r:id="rId33"/>
    <p:sldId id="362" r:id="rId34"/>
    <p:sldId id="351" r:id="rId35"/>
    <p:sldId id="352" r:id="rId36"/>
    <p:sldId id="290" r:id="rId37"/>
    <p:sldId id="353" r:id="rId38"/>
    <p:sldId id="354" r:id="rId39"/>
    <p:sldId id="369" r:id="rId40"/>
    <p:sldId id="370" r:id="rId41"/>
    <p:sldId id="371" r:id="rId42"/>
    <p:sldId id="372" r:id="rId43"/>
    <p:sldId id="373" r:id="rId44"/>
    <p:sldId id="374" r:id="rId45"/>
    <p:sldId id="375" r:id="rId46"/>
    <p:sldId id="378" r:id="rId47"/>
    <p:sldId id="433" r:id="rId48"/>
    <p:sldId id="434" r:id="rId49"/>
    <p:sldId id="435" r:id="rId50"/>
    <p:sldId id="436" r:id="rId51"/>
    <p:sldId id="437" r:id="rId52"/>
    <p:sldId id="438" r:id="rId53"/>
    <p:sldId id="439" r:id="rId54"/>
    <p:sldId id="440" r:id="rId55"/>
    <p:sldId id="441" r:id="rId56"/>
    <p:sldId id="442" r:id="rId57"/>
    <p:sldId id="443" r:id="rId58"/>
    <p:sldId id="444" r:id="rId59"/>
    <p:sldId id="445" r:id="rId60"/>
    <p:sldId id="446" r:id="rId61"/>
    <p:sldId id="376" r:id="rId62"/>
    <p:sldId id="428" r:id="rId63"/>
    <p:sldId id="457" r:id="rId64"/>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96FF"/>
    <a:srgbClr val="73FEFF"/>
    <a:srgbClr val="00FA00"/>
    <a:srgbClr val="FF9300"/>
    <a:srgbClr val="0432FF"/>
    <a:srgbClr val="FFFFFF"/>
    <a:srgbClr val="D20001"/>
    <a:srgbClr val="D5FC79"/>
    <a:srgbClr val="E5F6FF"/>
    <a:srgbClr val="8EFA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9324"/>
    <p:restoredTop sz="86389"/>
  </p:normalViewPr>
  <p:slideViewPr>
    <p:cSldViewPr snapToGrid="0" snapToObjects="1">
      <p:cViewPr varScale="1">
        <p:scale>
          <a:sx n="103" d="100"/>
          <a:sy n="103" d="100"/>
        </p:scale>
        <p:origin x="138" y="246"/>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s>
</file>

<file path=ppt/charts/_rels/chart1.xml.rels><?xml version="1.0" encoding="UTF-8" standalone="yes"?>
<Relationships xmlns="http://schemas.openxmlformats.org/package/2006/relationships"><Relationship Id="rId3" Type="http://schemas.openxmlformats.org/officeDocument/2006/relationships/package" Target="../embeddings/Foglio_con_attivazione_macro_di_Microsoft_Excel.xlsm"/><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Cartel1" TargetMode="External"/><Relationship Id="rId2" Type="http://schemas.microsoft.com/office/2011/relationships/chartColorStyle" Target="colors8.xml"/><Relationship Id="rId1" Type="http://schemas.microsoft.com/office/2011/relationships/chartStyle" Target="style8.xml"/></Relationships>
</file>

<file path=ppt/charts/_rels/chart11.xml.rels><?xml version="1.0" encoding="UTF-8" standalone="yes"?>
<Relationships xmlns="http://schemas.openxmlformats.org/package/2006/relationships"><Relationship Id="rId3" Type="http://schemas.openxmlformats.org/officeDocument/2006/relationships/oleObject" Target="Cartel1" TargetMode="External"/><Relationship Id="rId2" Type="http://schemas.microsoft.com/office/2011/relationships/chartColorStyle" Target="colors9.xml"/><Relationship Id="rId1" Type="http://schemas.microsoft.com/office/2011/relationships/chartStyle" Target="style9.xml"/></Relationships>
</file>

<file path=ppt/charts/_rels/chart12.xml.rels><?xml version="1.0" encoding="UTF-8" standalone="yes"?>
<Relationships xmlns="http://schemas.openxmlformats.org/package/2006/relationships"><Relationship Id="rId3" Type="http://schemas.openxmlformats.org/officeDocument/2006/relationships/oleObject" Target="Cartel1" TargetMode="External"/><Relationship Id="rId2" Type="http://schemas.microsoft.com/office/2011/relationships/chartColorStyle" Target="colors10.xml"/><Relationship Id="rId1" Type="http://schemas.microsoft.com/office/2011/relationships/chartStyle" Target="style10.xml"/></Relationships>
</file>

<file path=ppt/charts/_rels/chart13.xml.rels><?xml version="1.0" encoding="UTF-8" standalone="yes"?>
<Relationships xmlns="http://schemas.openxmlformats.org/package/2006/relationships"><Relationship Id="rId3" Type="http://schemas.openxmlformats.org/officeDocument/2006/relationships/oleObject" Target="Cartel1" TargetMode="External"/><Relationship Id="rId2" Type="http://schemas.microsoft.com/office/2011/relationships/chartColorStyle" Target="colors11.xml"/><Relationship Id="rId1" Type="http://schemas.microsoft.com/office/2011/relationships/chartStyle" Target="style11.xml"/></Relationships>
</file>

<file path=ppt/charts/_rels/chart14.xml.rels><?xml version="1.0" encoding="UTF-8" standalone="yes"?>
<Relationships xmlns="http://schemas.openxmlformats.org/package/2006/relationships"><Relationship Id="rId3" Type="http://schemas.openxmlformats.org/officeDocument/2006/relationships/oleObject" Target="file:///C:\Users\opa459\Downloads\ultima%20slide%20(1).xlsx" TargetMode="External"/><Relationship Id="rId2" Type="http://schemas.microsoft.com/office/2011/relationships/chartColorStyle" Target="colors12.xml"/><Relationship Id="rId1" Type="http://schemas.microsoft.com/office/2011/relationships/chartStyle" Target="style12.xml"/></Relationships>
</file>

<file path=ppt/charts/_rels/chart15.xml.rels><?xml version="1.0" encoding="UTF-8" standalone="yes"?>
<Relationships xmlns="http://schemas.openxmlformats.org/package/2006/relationships"><Relationship Id="rId3" Type="http://schemas.openxmlformats.org/officeDocument/2006/relationships/oleObject" Target="file:///\\Users\chiaravolpato\Desktop\PALCIC\diabete\elaborazione%20dati%20grafici.xlsx" TargetMode="External"/><Relationship Id="rId2" Type="http://schemas.microsoft.com/office/2011/relationships/chartColorStyle" Target="colors13.xml"/><Relationship Id="rId1" Type="http://schemas.microsoft.com/office/2011/relationships/chartStyle" Target="style13.xml"/></Relationships>
</file>

<file path=ppt/charts/_rels/chart2.xml.rels><?xml version="1.0" encoding="UTF-8" standalone="yes"?>
<Relationships xmlns="http://schemas.openxmlformats.org/package/2006/relationships"><Relationship Id="rId3" Type="http://schemas.openxmlformats.org/officeDocument/2006/relationships/package" Target="../embeddings/Foglio_con_attivazione_macro_di_Microsoft_Excel1.xlsm"/><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5.xml.rels><?xml version="1.0" encoding="UTF-8" standalone="yes"?>
<Relationships xmlns="http://schemas.openxmlformats.org/package/2006/relationships"><Relationship Id="rId3" Type="http://schemas.openxmlformats.org/officeDocument/2006/relationships/package" Target="../embeddings/Foglio_di_lavoro_di_Microsoft_Excel.xlsx"/><Relationship Id="rId2" Type="http://schemas.microsoft.com/office/2011/relationships/chartColorStyle" Target="colors3.xml"/><Relationship Id="rId1" Type="http://schemas.microsoft.com/office/2011/relationships/chartStyle" Target="style3.xml"/></Relationships>
</file>

<file path=ppt/charts/_rels/chart6.xml.rels><?xml version="1.0" encoding="UTF-8" standalone="yes"?>
<Relationships xmlns="http://schemas.openxmlformats.org/package/2006/relationships"><Relationship Id="rId3" Type="http://schemas.openxmlformats.org/officeDocument/2006/relationships/package" Target="../embeddings/Foglio_di_lavoro_di_Microsoft_Excel2.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Foglio_di_lavoro_di_Microsoft_Excel3.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3" Type="http://schemas.openxmlformats.org/officeDocument/2006/relationships/package" Target="../embeddings/Foglio_di_lavoro_di_Microsoft_Excel4.xlsx"/><Relationship Id="rId2" Type="http://schemas.microsoft.com/office/2011/relationships/chartColorStyle" Target="colors6.xml"/><Relationship Id="rId1" Type="http://schemas.microsoft.com/office/2011/relationships/chartStyle" Target="style6.xml"/></Relationships>
</file>

<file path=ppt/charts/_rels/chart9.xml.rels><?xml version="1.0" encoding="UTF-8" standalone="yes"?>
<Relationships xmlns="http://schemas.openxmlformats.org/package/2006/relationships"><Relationship Id="rId3" Type="http://schemas.openxmlformats.org/officeDocument/2006/relationships/package" Target="../embeddings/Foglio_di_lavoro_di_Microsoft_Excel5.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
          <c:y val="3.8801911736493985E-2"/>
          <c:w val="1"/>
          <c:h val="0.89447959355957696"/>
        </c:manualLayout>
      </c:layout>
      <c:pie3DChart>
        <c:varyColors val="1"/>
        <c:ser>
          <c:idx val="0"/>
          <c:order val="0"/>
          <c:dPt>
            <c:idx val="0"/>
            <c:bubble3D val="0"/>
            <c:spPr>
              <a:solidFill>
                <a:srgbClr val="FF0000"/>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0-35C3-7543-BFF9-98305B72B8C3}"/>
              </c:ext>
            </c:extLst>
          </c:dPt>
          <c:dPt>
            <c:idx val="1"/>
            <c:bubble3D val="0"/>
            <c:spPr>
              <a:solidFill>
                <a:srgbClr val="00B050"/>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1-35C3-7543-BFF9-98305B72B8C3}"/>
              </c:ext>
            </c:extLst>
          </c:dPt>
          <c:dLbls>
            <c:dLbl>
              <c:idx val="0"/>
              <c:tx>
                <c:rich>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fld id="{CA27D75C-E1FE-0447-8C7D-BA363AEEDFDA}" type="CATEGORYNAME">
                      <a:rPr lang="en-US"/>
                      <a:pPr>
                        <a:defRPr/>
                      </a:pPr>
                      <a:t>[NOME CATEGORIA]</a:t>
                    </a:fld>
                    <a:r>
                      <a:rPr lang="en-US" baseline="0" dirty="0"/>
                      <a:t>,  </a:t>
                    </a:r>
                    <a:fld id="{DED3AD04-59F6-194B-8112-006DECF25177}" type="PERCENTAGE">
                      <a:rPr lang="en-US" baseline="0"/>
                      <a:pPr>
                        <a:defRPr/>
                      </a:pPr>
                      <a:t>[PERCENTUALE]</a:t>
                    </a:fld>
                    <a:endParaRPr lang="en-US" baseline="0" dirty="0"/>
                  </a:p>
                </c:rich>
              </c:tx>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it-IT"/>
                </a:p>
              </c:txPr>
              <c:dLblPos val="outEnd"/>
              <c:showLegendKey val="0"/>
              <c:showVal val="1"/>
              <c:showCatName val="1"/>
              <c:showSerName val="0"/>
              <c:showPercent val="1"/>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0-35C3-7543-BFF9-98305B72B8C3}"/>
                </c:ext>
              </c:extLst>
            </c:dLbl>
            <c:dLbl>
              <c:idx val="1"/>
              <c:layout>
                <c:manualLayout>
                  <c:x val="3.1783133917108589E-2"/>
                  <c:y val="0.14123940356935327"/>
                </c:manualLayout>
              </c:layout>
              <c:tx>
                <c:rich>
                  <a:bodyPr rot="0" spcFirstLastPara="1" vertOverflow="ellipsis" vert="horz" wrap="square" lIns="38100" tIns="19050" rIns="38100" bIns="19050" anchor="ctr" anchorCtr="1">
                    <a:spAutoFit/>
                  </a:bodyPr>
                  <a:lstStyle/>
                  <a:p>
                    <a:pPr>
                      <a:defRPr sz="1330" b="1" i="0" u="none" strike="noStrike" kern="1200" spc="0" baseline="0">
                        <a:solidFill>
                          <a:srgbClr val="0432FF"/>
                        </a:solidFill>
                        <a:latin typeface="+mn-lt"/>
                        <a:ea typeface="+mn-ea"/>
                        <a:cs typeface="+mn-cs"/>
                      </a:defRPr>
                    </a:pPr>
                    <a:fld id="{73CF9C3D-208A-CC44-A64A-D443F4496461}" type="CATEGORYNAME">
                      <a:rPr lang="en-US">
                        <a:solidFill>
                          <a:srgbClr val="0432FF"/>
                        </a:solidFill>
                      </a:rPr>
                      <a:pPr>
                        <a:defRPr>
                          <a:solidFill>
                            <a:srgbClr val="0432FF"/>
                          </a:solidFill>
                        </a:defRPr>
                      </a:pPr>
                      <a:t>[NOME CATEGORIA]</a:t>
                    </a:fld>
                    <a:r>
                      <a:rPr lang="en-US" baseline="0">
                        <a:solidFill>
                          <a:srgbClr val="0432FF"/>
                        </a:solidFill>
                      </a:rPr>
                      <a:t>;  </a:t>
                    </a:r>
                    <a:fld id="{6257296B-8A6B-EB46-8361-E1FFE7FF8FCB}" type="PERCENTAGE">
                      <a:rPr lang="en-US" baseline="0">
                        <a:solidFill>
                          <a:srgbClr val="0432FF"/>
                        </a:solidFill>
                      </a:rPr>
                      <a:pPr>
                        <a:defRPr>
                          <a:solidFill>
                            <a:srgbClr val="0432FF"/>
                          </a:solidFill>
                        </a:defRPr>
                      </a:pPr>
                      <a:t>[PERCENTUALE]</a:t>
                    </a:fld>
                    <a:endParaRPr lang="en-US" baseline="0">
                      <a:solidFill>
                        <a:srgbClr val="0432FF"/>
                      </a:solidFill>
                    </a:endParaRPr>
                  </a:p>
                </c:rich>
              </c:tx>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rgbClr val="0432FF"/>
                      </a:solidFill>
                      <a:latin typeface="+mn-lt"/>
                      <a:ea typeface="+mn-ea"/>
                      <a:cs typeface="+mn-cs"/>
                    </a:defRPr>
                  </a:pPr>
                  <a:endParaRPr lang="it-IT"/>
                </a:p>
              </c:txPr>
              <c:dLblPos val="bestFit"/>
              <c:showLegendKey val="0"/>
              <c:showVal val="1"/>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35C3-7543-BFF9-98305B72B8C3}"/>
                </c:ext>
              </c:extLst>
            </c:dLbl>
            <c:spPr>
              <a:noFill/>
              <a:ln>
                <a:noFill/>
              </a:ln>
              <a:effectLst/>
            </c:spPr>
            <c:dLblPos val="outEnd"/>
            <c:showLegendKey val="0"/>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oglio1!$B$26:$B$27</c:f>
              <c:strCache>
                <c:ptCount val="2"/>
                <c:pt idx="0">
                  <c:v>insucc.</c:v>
                </c:pt>
                <c:pt idx="1">
                  <c:v>succ.</c:v>
                </c:pt>
              </c:strCache>
            </c:strRef>
          </c:cat>
          <c:val>
            <c:numRef>
              <c:f>Foglio1!$C$26:$C$27</c:f>
              <c:numCache>
                <c:formatCode>0%</c:formatCode>
                <c:ptCount val="2"/>
                <c:pt idx="0">
                  <c:v>0.35</c:v>
                </c:pt>
                <c:pt idx="1">
                  <c:v>0.65</c:v>
                </c:pt>
              </c:numCache>
            </c:numRef>
          </c:val>
          <c:extLst>
            <c:ext xmlns:c16="http://schemas.microsoft.com/office/drawing/2014/chart" uri="{C3380CC4-5D6E-409C-BE32-E72D297353CC}">
              <c16:uniqueId val="{00000002-35C3-7543-BFF9-98305B72B8C3}"/>
            </c:ext>
          </c:extLst>
        </c:ser>
        <c:dLbls>
          <c:dLblPos val="outEnd"/>
          <c:showLegendKey val="0"/>
          <c:showVal val="0"/>
          <c:showCatName val="1"/>
          <c:showSerName val="0"/>
          <c:showPercent val="0"/>
          <c:showBubbleSize val="0"/>
          <c:showLeaderLines val="1"/>
        </c:dLbls>
      </c:pie3DChart>
      <c:spPr>
        <a:noFill/>
        <a:ln>
          <a:noFill/>
        </a:ln>
        <a:effectLst/>
      </c:spPr>
    </c:plotArea>
    <c:plotVisOnly val="1"/>
    <c:dispBlanksAs val="zero"/>
    <c:showDLblsOverMax val="0"/>
  </c:chart>
  <c:spPr>
    <a:noFill/>
    <a:ln>
      <a:noFill/>
    </a:ln>
    <a:effectLst/>
  </c:spPr>
  <c:txPr>
    <a:bodyPr/>
    <a:lstStyle/>
    <a:p>
      <a:pPr>
        <a:defRPr/>
      </a:pPr>
      <a:endParaRPr lang="it-IT"/>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baseline="0">
                <a:solidFill>
                  <a:schemeClr val="tx2"/>
                </a:solidFill>
                <a:latin typeface="+mn-lt"/>
                <a:ea typeface="+mn-ea"/>
                <a:cs typeface="+mn-cs"/>
              </a:defRPr>
            </a:pPr>
            <a:r>
              <a:rPr lang="it-IT"/>
              <a:t>Rischio MACE</a:t>
            </a:r>
          </a:p>
        </c:rich>
      </c:tx>
      <c:layout>
        <c:manualLayout>
          <c:xMode val="edge"/>
          <c:yMode val="edge"/>
          <c:x val="0.39693279440247126"/>
          <c:y val="0.15257617462296466"/>
        </c:manualLayout>
      </c:layout>
      <c:overlay val="0"/>
      <c:spPr>
        <a:noFill/>
        <a:ln>
          <a:noFill/>
        </a:ln>
        <a:effectLst/>
      </c:spPr>
      <c:txPr>
        <a:bodyPr rot="0" spcFirstLastPara="1" vertOverflow="ellipsis" vert="horz" wrap="square" anchor="ctr" anchorCtr="1"/>
        <a:lstStyle/>
        <a:p>
          <a:pPr>
            <a:defRPr sz="2128" b="1" i="0" u="none" strike="noStrike" kern="1200" baseline="0">
              <a:solidFill>
                <a:schemeClr val="tx2"/>
              </a:solidFill>
              <a:latin typeface="+mn-lt"/>
              <a:ea typeface="+mn-ea"/>
              <a:cs typeface="+mn-cs"/>
            </a:defRPr>
          </a:pPr>
          <a:endParaRPr lang="it-IT"/>
        </a:p>
      </c:txPr>
    </c:title>
    <c:autoTitleDeleted val="0"/>
    <c:plotArea>
      <c:layout>
        <c:manualLayout>
          <c:layoutTarget val="inner"/>
          <c:xMode val="edge"/>
          <c:yMode val="edge"/>
          <c:x val="0.1035775792623506"/>
          <c:y val="0.14109488158844721"/>
          <c:w val="0.87159061224681333"/>
          <c:h val="0.80154947548941979"/>
        </c:manualLayout>
      </c:layout>
      <c:barChart>
        <c:barDir val="col"/>
        <c:grouping val="clustered"/>
        <c:varyColors val="0"/>
        <c:ser>
          <c:idx val="0"/>
          <c:order val="0"/>
          <c:spPr>
            <a:gradFill rotWithShape="1">
              <a:gsLst>
                <a:gs pos="0">
                  <a:schemeClr val="accent1">
                    <a:tint val="96000"/>
                    <a:satMod val="100000"/>
                    <a:lumMod val="104000"/>
                  </a:schemeClr>
                </a:gs>
                <a:gs pos="78000">
                  <a:schemeClr val="accent1">
                    <a:shade val="100000"/>
                    <a:satMod val="110000"/>
                    <a:lumMod val="100000"/>
                  </a:schemeClr>
                </a:gs>
              </a:gsLst>
              <a:lin ang="5400000" scaled="0"/>
            </a:gradFill>
            <a:ln>
              <a:noFill/>
            </a:ln>
            <a:effectLst/>
            <a:scene3d>
              <a:camera prst="orthographicFront">
                <a:rot lat="0" lon="0" rev="0"/>
              </a:camera>
              <a:lightRig rig="threePt" dir="t"/>
            </a:scene3d>
            <a:sp3d>
              <a:bevelT w="25400" h="12700"/>
            </a:sp3d>
          </c:spPr>
          <c:invertIfNegative val="0"/>
          <c:dPt>
            <c:idx val="2"/>
            <c:invertIfNegative val="0"/>
            <c:bubble3D val="0"/>
            <c:spPr>
              <a:solidFill>
                <a:srgbClr val="FFFF00"/>
              </a:solidFill>
              <a:ln>
                <a:noFill/>
              </a:ln>
              <a:effectLst>
                <a:outerShdw blurRad="40000" dist="23000" dir="5400000" rotWithShape="0">
                  <a:srgbClr val="000000">
                    <a:alpha val="35000"/>
                  </a:srgbClr>
                </a:outerShdw>
              </a:effectLst>
              <a:scene3d>
                <a:camera prst="orthographicFront">
                  <a:rot lat="0" lon="0" rev="0"/>
                </a:camera>
                <a:lightRig rig="threePt" dir="t"/>
              </a:scene3d>
              <a:sp3d>
                <a:bevelT w="25400" h="12700"/>
              </a:sp3d>
            </c:spPr>
            <c:extLst>
              <c:ext xmlns:c16="http://schemas.microsoft.com/office/drawing/2014/chart" uri="{C3380CC4-5D6E-409C-BE32-E72D297353CC}">
                <c16:uniqueId val="{00000001-995D-5342-A81F-32F6A6D5BA3D}"/>
              </c:ext>
            </c:extLst>
          </c:dPt>
          <c:dPt>
            <c:idx val="3"/>
            <c:invertIfNegative val="0"/>
            <c:bubble3D val="0"/>
            <c:spPr>
              <a:solidFill>
                <a:srgbClr val="C00000"/>
              </a:solidFill>
              <a:ln>
                <a:noFill/>
              </a:ln>
              <a:effectLst>
                <a:outerShdw blurRad="40000" dist="23000" dir="5400000" rotWithShape="0">
                  <a:srgbClr val="000000">
                    <a:alpha val="35000"/>
                  </a:srgbClr>
                </a:outerShdw>
              </a:effectLst>
              <a:scene3d>
                <a:camera prst="orthographicFront">
                  <a:rot lat="0" lon="0" rev="0"/>
                </a:camera>
                <a:lightRig rig="threePt" dir="t"/>
              </a:scene3d>
              <a:sp3d>
                <a:bevelT w="25400" h="12700"/>
              </a:sp3d>
            </c:spPr>
            <c:extLst>
              <c:ext xmlns:c16="http://schemas.microsoft.com/office/drawing/2014/chart" uri="{C3380CC4-5D6E-409C-BE32-E72D297353CC}">
                <c16:uniqueId val="{00000003-995D-5342-A81F-32F6A6D5BA3D}"/>
              </c:ext>
            </c:extLst>
          </c:dPt>
          <c:dLbls>
            <c:dLbl>
              <c:idx val="0"/>
              <c:delete val="1"/>
              <c:extLst>
                <c:ext xmlns:c15="http://schemas.microsoft.com/office/drawing/2012/chart" uri="{CE6537A1-D6FC-4f65-9D91-7224C49458BB}"/>
                <c:ext xmlns:c16="http://schemas.microsoft.com/office/drawing/2014/chart" uri="{C3380CC4-5D6E-409C-BE32-E72D297353CC}">
                  <c16:uniqueId val="{00000004-995D-5342-A81F-32F6A6D5BA3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Foglio1!$A$2:$A$5</c:f>
              <c:strCache>
                <c:ptCount val="4"/>
                <c:pt idx="0">
                  <c:v>Sulf</c:v>
                </c:pt>
                <c:pt idx="1">
                  <c:v>DPP4</c:v>
                </c:pt>
                <c:pt idx="2">
                  <c:v>SGLT2</c:v>
                </c:pt>
                <c:pt idx="3">
                  <c:v>GLP1</c:v>
                </c:pt>
              </c:strCache>
            </c:strRef>
          </c:cat>
          <c:val>
            <c:numRef>
              <c:f>Foglio1!$D$2:$D$5</c:f>
              <c:numCache>
                <c:formatCode>0.0%</c:formatCode>
                <c:ptCount val="4"/>
                <c:pt idx="0">
                  <c:v>0</c:v>
                </c:pt>
                <c:pt idx="1">
                  <c:v>-0.16200000000000003</c:v>
                </c:pt>
                <c:pt idx="2">
                  <c:v>-0.24</c:v>
                </c:pt>
                <c:pt idx="3">
                  <c:v>-0.26600000000000001</c:v>
                </c:pt>
              </c:numCache>
            </c:numRef>
          </c:val>
          <c:extLst>
            <c:ext xmlns:c16="http://schemas.microsoft.com/office/drawing/2014/chart" uri="{C3380CC4-5D6E-409C-BE32-E72D297353CC}">
              <c16:uniqueId val="{00000005-995D-5342-A81F-32F6A6D5BA3D}"/>
            </c:ext>
          </c:extLst>
        </c:ser>
        <c:dLbls>
          <c:showLegendKey val="0"/>
          <c:showVal val="0"/>
          <c:showCatName val="0"/>
          <c:showSerName val="0"/>
          <c:showPercent val="0"/>
          <c:showBubbleSize val="0"/>
        </c:dLbls>
        <c:gapWidth val="100"/>
        <c:overlap val="-24"/>
        <c:axId val="628223552"/>
        <c:axId val="625373344"/>
      </c:barChart>
      <c:catAx>
        <c:axId val="628223552"/>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it-IT"/>
          </a:p>
        </c:txPr>
        <c:crossAx val="625373344"/>
        <c:crosses val="autoZero"/>
        <c:auto val="1"/>
        <c:lblAlgn val="ctr"/>
        <c:lblOffset val="100"/>
        <c:noMultiLvlLbl val="0"/>
      </c:catAx>
      <c:valAx>
        <c:axId val="625373344"/>
        <c:scaling>
          <c:orientation val="minMax"/>
          <c:max val="0.1"/>
        </c:scaling>
        <c:delete val="0"/>
        <c:axPos val="l"/>
        <c:majorGridlines>
          <c:spPr>
            <a:ln w="9525" cap="flat" cmpd="sng" algn="ctr">
              <a:solidFill>
                <a:schemeClr val="tx2">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it-IT"/>
          </a:p>
        </c:txPr>
        <c:crossAx val="6282235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200" b="1" i="0" u="none" strike="noStrike" kern="1200" baseline="0">
                <a:solidFill>
                  <a:schemeClr val="dk1">
                    <a:lumMod val="75000"/>
                    <a:lumOff val="25000"/>
                  </a:schemeClr>
                </a:solidFill>
                <a:latin typeface="+mn-lt"/>
                <a:ea typeface="+mn-ea"/>
                <a:cs typeface="+mn-cs"/>
              </a:defRPr>
            </a:pPr>
            <a:r>
              <a:rPr lang="it-IT"/>
              <a:t>Costo medio annuo complessivo </a:t>
            </a:r>
          </a:p>
          <a:p>
            <a:pPr>
              <a:defRPr/>
            </a:pPr>
            <a:r>
              <a:rPr lang="it-IT"/>
              <a:t>(escluso costo terapia farmacologica)</a:t>
            </a:r>
          </a:p>
        </c:rich>
      </c:tx>
      <c:layout>
        <c:manualLayout>
          <c:xMode val="edge"/>
          <c:yMode val="edge"/>
          <c:x val="0.18137688982267258"/>
          <c:y val="1.7221840259617309E-2"/>
        </c:manualLayout>
      </c:layout>
      <c:overlay val="0"/>
      <c:spPr>
        <a:noFill/>
        <a:ln>
          <a:noFill/>
        </a:ln>
        <a:effectLst/>
      </c:spPr>
      <c:txPr>
        <a:bodyPr rot="0" spcFirstLastPara="1" vertOverflow="ellipsis" vert="horz" wrap="square" anchor="ctr" anchorCtr="1"/>
        <a:lstStyle/>
        <a:p>
          <a:pPr>
            <a:defRPr sz="2200" b="1" i="0" u="none" strike="noStrike" kern="1200" baseline="0">
              <a:solidFill>
                <a:schemeClr val="dk1">
                  <a:lumMod val="75000"/>
                  <a:lumOff val="25000"/>
                </a:schemeClr>
              </a:solidFill>
              <a:latin typeface="+mn-lt"/>
              <a:ea typeface="+mn-ea"/>
              <a:cs typeface="+mn-cs"/>
            </a:defRPr>
          </a:pPr>
          <a:endParaRPr lang="it-IT"/>
        </a:p>
      </c:txPr>
    </c:title>
    <c:autoTitleDeleted val="0"/>
    <c:plotArea>
      <c:layout/>
      <c:barChart>
        <c:barDir val="col"/>
        <c:grouping val="clustered"/>
        <c:varyColors val="0"/>
        <c:ser>
          <c:idx val="0"/>
          <c:order val="0"/>
          <c:spPr>
            <a:solidFill>
              <a:schemeClr val="accent1">
                <a:alpha val="85000"/>
              </a:schemeClr>
            </a:solidFill>
            <a:ln w="9525" cap="flat" cmpd="sng" algn="ctr">
              <a:solidFill>
                <a:schemeClr val="lt1">
                  <a:alpha val="50000"/>
                </a:schemeClr>
              </a:solidFill>
              <a:round/>
            </a:ln>
            <a:effectLst/>
          </c:spPr>
          <c:invertIfNegative val="0"/>
          <c:dPt>
            <c:idx val="0"/>
            <c:invertIfNegative val="0"/>
            <c:bubble3D val="0"/>
            <c:spPr>
              <a:solidFill>
                <a:srgbClr val="00B050">
                  <a:alpha val="85000"/>
                </a:srgbClr>
              </a:solidFill>
              <a:ln w="9525" cap="flat" cmpd="sng" algn="ctr">
                <a:solidFill>
                  <a:schemeClr val="lt1">
                    <a:alpha val="50000"/>
                  </a:schemeClr>
                </a:solidFill>
                <a:round/>
              </a:ln>
              <a:effectLst/>
            </c:spPr>
            <c:extLst>
              <c:ext xmlns:c16="http://schemas.microsoft.com/office/drawing/2014/chart" uri="{C3380CC4-5D6E-409C-BE32-E72D297353CC}">
                <c16:uniqueId val="{00000001-EA19-EB4B-9F0D-106F96A180E9}"/>
              </c:ext>
            </c:extLst>
          </c:dPt>
          <c:dPt>
            <c:idx val="1"/>
            <c:invertIfNegative val="0"/>
            <c:bubble3D val="0"/>
            <c:spPr>
              <a:solidFill>
                <a:schemeClr val="accent1">
                  <a:alpha val="85000"/>
                </a:schemeClr>
              </a:solidFill>
              <a:ln w="9525" cap="flat" cmpd="sng" algn="ctr">
                <a:solidFill>
                  <a:schemeClr val="lt1">
                    <a:alpha val="50000"/>
                  </a:schemeClr>
                </a:solidFill>
                <a:round/>
              </a:ln>
              <a:effectLst/>
            </c:spPr>
            <c:extLst>
              <c:ext xmlns:c16="http://schemas.microsoft.com/office/drawing/2014/chart" uri="{C3380CC4-5D6E-409C-BE32-E72D297353CC}">
                <c16:uniqueId val="{00000003-EA19-EB4B-9F0D-106F96A180E9}"/>
              </c:ext>
            </c:extLst>
          </c:dPt>
          <c:dPt>
            <c:idx val="2"/>
            <c:invertIfNegative val="0"/>
            <c:bubble3D val="0"/>
            <c:spPr>
              <a:solidFill>
                <a:srgbClr val="C00000">
                  <a:alpha val="85000"/>
                </a:srgbClr>
              </a:solidFill>
              <a:ln w="9525" cap="flat" cmpd="sng" algn="ctr">
                <a:solidFill>
                  <a:schemeClr val="lt1">
                    <a:alpha val="50000"/>
                  </a:schemeClr>
                </a:solidFill>
                <a:round/>
              </a:ln>
              <a:effectLst/>
            </c:spPr>
            <c:extLst>
              <c:ext xmlns:c16="http://schemas.microsoft.com/office/drawing/2014/chart" uri="{C3380CC4-5D6E-409C-BE32-E72D297353CC}">
                <c16:uniqueId val="{00000005-EA19-EB4B-9F0D-106F96A180E9}"/>
              </c:ext>
            </c:extLst>
          </c:dPt>
          <c:dPt>
            <c:idx val="3"/>
            <c:invertIfNegative val="0"/>
            <c:bubble3D val="0"/>
            <c:spPr>
              <a:solidFill>
                <a:srgbClr val="FFFF00">
                  <a:alpha val="85000"/>
                </a:srgbClr>
              </a:solidFill>
              <a:ln w="9525" cap="flat" cmpd="sng" algn="ctr">
                <a:solidFill>
                  <a:schemeClr val="lt1">
                    <a:alpha val="50000"/>
                  </a:schemeClr>
                </a:solidFill>
                <a:round/>
              </a:ln>
              <a:effectLst/>
            </c:spPr>
            <c:extLst>
              <c:ext xmlns:c16="http://schemas.microsoft.com/office/drawing/2014/chart" uri="{C3380CC4-5D6E-409C-BE32-E72D297353CC}">
                <c16:uniqueId val="{00000006-D2D4-4B7F-AC97-DCF2177B2B0E}"/>
              </c:ext>
            </c:extLst>
          </c:dPt>
          <c:dLbls>
            <c:dLbl>
              <c:idx val="3"/>
              <c:layout>
                <c:manualLayout>
                  <c:x val="0"/>
                  <c:y val="6.6388888888888789E-2"/>
                </c:manualLayout>
              </c:layout>
              <c:spPr>
                <a:noFill/>
                <a:ln>
                  <a:solidFill>
                    <a:schemeClr val="tx1"/>
                  </a:solid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it-IT"/>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D2D4-4B7F-AC97-DCF2177B2B0E}"/>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it-IT"/>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Foglio2!$A$3:$A$6</c:f>
              <c:strCache>
                <c:ptCount val="4"/>
                <c:pt idx="0">
                  <c:v>Sulf</c:v>
                </c:pt>
                <c:pt idx="1">
                  <c:v>DDP4</c:v>
                </c:pt>
                <c:pt idx="2">
                  <c:v>GLP1</c:v>
                </c:pt>
                <c:pt idx="3">
                  <c:v>SGLT2</c:v>
                </c:pt>
              </c:strCache>
            </c:strRef>
          </c:cat>
          <c:val>
            <c:numRef>
              <c:f>Foglio2!$B$3:$B$6</c:f>
              <c:numCache>
                <c:formatCode>#,##0\ "€"</c:formatCode>
                <c:ptCount val="4"/>
                <c:pt idx="0">
                  <c:v>2256</c:v>
                </c:pt>
                <c:pt idx="1">
                  <c:v>2175</c:v>
                </c:pt>
                <c:pt idx="2">
                  <c:v>2083</c:v>
                </c:pt>
                <c:pt idx="3">
                  <c:v>1999</c:v>
                </c:pt>
              </c:numCache>
            </c:numRef>
          </c:val>
          <c:extLst>
            <c:ext xmlns:c16="http://schemas.microsoft.com/office/drawing/2014/chart" uri="{C3380CC4-5D6E-409C-BE32-E72D297353CC}">
              <c16:uniqueId val="{00000006-EA19-EB4B-9F0D-106F96A180E9}"/>
            </c:ext>
          </c:extLst>
        </c:ser>
        <c:dLbls>
          <c:dLblPos val="inEnd"/>
          <c:showLegendKey val="0"/>
          <c:showVal val="1"/>
          <c:showCatName val="0"/>
          <c:showSerName val="0"/>
          <c:showPercent val="0"/>
          <c:showBubbleSize val="0"/>
        </c:dLbls>
        <c:gapWidth val="65"/>
        <c:axId val="592918416"/>
        <c:axId val="560254240"/>
      </c:barChart>
      <c:catAx>
        <c:axId val="592918416"/>
        <c:scaling>
          <c:orientation val="minMax"/>
        </c:scaling>
        <c:delete val="0"/>
        <c:axPos val="b"/>
        <c:numFmt formatCode="General" sourceLinked="1"/>
        <c:majorTickMark val="none"/>
        <c:minorTickMark val="none"/>
        <c:tickLblPos val="nextTo"/>
        <c:spPr>
          <a:noFill/>
          <a:ln w="19050" cap="flat" cmpd="sng" algn="ctr">
            <a:solidFill>
              <a:schemeClr val="dk1">
                <a:lumMod val="75000"/>
                <a:lumOff val="25000"/>
              </a:schemeClr>
            </a:solidFill>
            <a:round/>
          </a:ln>
          <a:effectLst/>
        </c:spPr>
        <c:txPr>
          <a:bodyPr rot="-60000000" spcFirstLastPara="1" vertOverflow="ellipsis" vert="horz" wrap="square" anchor="ctr" anchorCtr="1"/>
          <a:lstStyle/>
          <a:p>
            <a:pPr>
              <a:defRPr sz="1197" b="0" i="0" u="none" strike="noStrike" kern="1200" cap="all" baseline="0">
                <a:solidFill>
                  <a:schemeClr val="dk1">
                    <a:lumMod val="75000"/>
                    <a:lumOff val="25000"/>
                  </a:schemeClr>
                </a:solidFill>
                <a:latin typeface="+mn-lt"/>
                <a:ea typeface="+mn-ea"/>
                <a:cs typeface="+mn-cs"/>
              </a:defRPr>
            </a:pPr>
            <a:endParaRPr lang="it-IT"/>
          </a:p>
        </c:txPr>
        <c:crossAx val="560254240"/>
        <c:crosses val="autoZero"/>
        <c:auto val="1"/>
        <c:lblAlgn val="ctr"/>
        <c:lblOffset val="100"/>
        <c:noMultiLvlLbl val="0"/>
      </c:catAx>
      <c:valAx>
        <c:axId val="560254240"/>
        <c:scaling>
          <c:orientation val="minMax"/>
        </c:scaling>
        <c:delete val="1"/>
        <c:axPos val="l"/>
        <c:majorGridlines>
          <c:spPr>
            <a:ln w="9525" cap="flat" cmpd="sng" algn="ctr">
              <a:gradFill>
                <a:gsLst>
                  <a:gs pos="100000">
                    <a:schemeClr val="dk1">
                      <a:lumMod val="95000"/>
                      <a:lumOff val="5000"/>
                      <a:alpha val="42000"/>
                    </a:schemeClr>
                  </a:gs>
                  <a:gs pos="0">
                    <a:schemeClr val="lt1">
                      <a:lumMod val="75000"/>
                      <a:alpha val="36000"/>
                    </a:schemeClr>
                  </a:gs>
                </a:gsLst>
                <a:lin ang="5400000" scaled="0"/>
              </a:gradFill>
              <a:round/>
            </a:ln>
            <a:effectLst/>
          </c:spPr>
        </c:majorGridlines>
        <c:title>
          <c:tx>
            <c:rich>
              <a:bodyPr rot="-5400000" spcFirstLastPara="1" vertOverflow="ellipsis" vert="horz" wrap="square" anchor="ctr" anchorCtr="1"/>
              <a:lstStyle/>
              <a:p>
                <a:pPr>
                  <a:defRPr sz="1197" b="1" i="0" u="none" strike="noStrike" kern="1200" baseline="0">
                    <a:solidFill>
                      <a:schemeClr val="dk1">
                        <a:lumMod val="75000"/>
                        <a:lumOff val="25000"/>
                      </a:schemeClr>
                    </a:solidFill>
                    <a:latin typeface="+mn-lt"/>
                    <a:ea typeface="+mn-ea"/>
                    <a:cs typeface="+mn-cs"/>
                  </a:defRPr>
                </a:pPr>
                <a:r>
                  <a:rPr lang="it-IT"/>
                  <a:t>costo medio annuo (€)</a:t>
                </a:r>
              </a:p>
            </c:rich>
          </c:tx>
          <c:overlay val="0"/>
          <c:spPr>
            <a:noFill/>
            <a:ln>
              <a:noFill/>
            </a:ln>
            <a:effectLst/>
          </c:spPr>
          <c:txPr>
            <a:bodyPr rot="-5400000" spcFirstLastPara="1" vertOverflow="ellipsis" vert="horz" wrap="square" anchor="ctr" anchorCtr="1"/>
            <a:lstStyle/>
            <a:p>
              <a:pPr>
                <a:defRPr sz="1197" b="1" i="0" u="none" strike="noStrike" kern="1200" baseline="0">
                  <a:solidFill>
                    <a:schemeClr val="dk1">
                      <a:lumMod val="75000"/>
                      <a:lumOff val="25000"/>
                    </a:schemeClr>
                  </a:solidFill>
                  <a:latin typeface="+mn-lt"/>
                  <a:ea typeface="+mn-ea"/>
                  <a:cs typeface="+mn-cs"/>
                </a:defRPr>
              </a:pPr>
              <a:endParaRPr lang="it-IT"/>
            </a:p>
          </c:txPr>
        </c:title>
        <c:numFmt formatCode="#,##0\ &quot;€&quot;" sourceLinked="0"/>
        <c:majorTickMark val="none"/>
        <c:minorTickMark val="none"/>
        <c:tickLblPos val="nextTo"/>
        <c:crossAx val="5929184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it-IT"/>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baseline="0">
                <a:solidFill>
                  <a:schemeClr val="tx2"/>
                </a:solidFill>
                <a:latin typeface="+mn-lt"/>
                <a:ea typeface="+mn-ea"/>
                <a:cs typeface="+mn-cs"/>
              </a:defRPr>
            </a:pPr>
            <a:r>
              <a:rPr lang="it-IT" sz="1800" dirty="0"/>
              <a:t>Variazione </a:t>
            </a:r>
            <a:r>
              <a:rPr lang="it-IT" sz="1800" dirty="0" smtClean="0"/>
              <a:t>spesa </a:t>
            </a:r>
            <a:r>
              <a:rPr lang="it-IT" sz="1800" dirty="0"/>
              <a:t>ausili per misurazione glicemia </a:t>
            </a:r>
            <a:r>
              <a:rPr lang="it-IT" sz="1800" dirty="0" smtClean="0"/>
              <a:t>2018-2020</a:t>
            </a:r>
            <a:endParaRPr lang="it-IT" sz="1800" dirty="0"/>
          </a:p>
        </c:rich>
      </c:tx>
      <c:layout>
        <c:manualLayout>
          <c:xMode val="edge"/>
          <c:yMode val="edge"/>
          <c:x val="0.12854714478255463"/>
          <c:y val="0"/>
        </c:manualLayout>
      </c:layout>
      <c:overlay val="0"/>
      <c:spPr>
        <a:noFill/>
        <a:ln>
          <a:noFill/>
        </a:ln>
        <a:effectLst/>
      </c:spPr>
      <c:txPr>
        <a:bodyPr rot="0" spcFirstLastPara="1" vertOverflow="ellipsis" vert="horz" wrap="square" anchor="ctr" anchorCtr="1"/>
        <a:lstStyle/>
        <a:p>
          <a:pPr>
            <a:defRPr sz="2128" b="1" i="0" u="none" strike="noStrike" kern="1200" baseline="0">
              <a:solidFill>
                <a:schemeClr val="tx2"/>
              </a:solidFill>
              <a:latin typeface="+mn-lt"/>
              <a:ea typeface="+mn-ea"/>
              <a:cs typeface="+mn-cs"/>
            </a:defRPr>
          </a:pPr>
          <a:endParaRPr lang="it-IT"/>
        </a:p>
      </c:txPr>
    </c:title>
    <c:autoTitleDeleted val="0"/>
    <c:plotArea>
      <c:layout>
        <c:manualLayout>
          <c:layoutTarget val="inner"/>
          <c:xMode val="edge"/>
          <c:yMode val="edge"/>
          <c:x val="0.10571264303893538"/>
          <c:y val="0.27664483239133297"/>
          <c:w val="0.86572455068272669"/>
          <c:h val="0.6041324106549899"/>
        </c:manualLayout>
      </c:layout>
      <c:barChart>
        <c:barDir val="col"/>
        <c:grouping val="clustered"/>
        <c:varyColors val="0"/>
        <c:ser>
          <c:idx val="0"/>
          <c:order val="0"/>
          <c:tx>
            <c:v>2018 vs 2019</c:v>
          </c:tx>
          <c:spPr>
            <a:gradFill rotWithShape="1">
              <a:gsLst>
                <a:gs pos="0">
                  <a:schemeClr val="accent1">
                    <a:tint val="96000"/>
                    <a:satMod val="100000"/>
                    <a:lumMod val="104000"/>
                  </a:schemeClr>
                </a:gs>
                <a:gs pos="78000">
                  <a:schemeClr val="accent1">
                    <a:shade val="100000"/>
                    <a:satMod val="110000"/>
                    <a:lumMod val="100000"/>
                  </a:schemeClr>
                </a:gs>
              </a:gsLst>
              <a:lin ang="5400000" scaled="0"/>
            </a:gradFill>
            <a:ln>
              <a:noFill/>
            </a:ln>
            <a:effectLst/>
            <a:scene3d>
              <a:camera prst="orthographicFront">
                <a:rot lat="0" lon="0" rev="0"/>
              </a:camera>
              <a:lightRig rig="threePt" dir="t"/>
            </a:scene3d>
            <a:sp3d>
              <a:bevelT w="25400" h="127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Foglio2!$K$4:$L$4</c:f>
              <c:strCache>
                <c:ptCount val="2"/>
                <c:pt idx="0">
                  <c:v>Δ n. ricette</c:v>
                </c:pt>
                <c:pt idx="1">
                  <c:v>Δ spesa pro-capite pesata</c:v>
                </c:pt>
              </c:strCache>
            </c:strRef>
          </c:cat>
          <c:val>
            <c:numRef>
              <c:f>Foglio2!$K$5:$L$5</c:f>
              <c:numCache>
                <c:formatCode>0.0%</c:formatCode>
                <c:ptCount val="2"/>
                <c:pt idx="0">
                  <c:v>-4.5999999999999999E-2</c:v>
                </c:pt>
                <c:pt idx="1">
                  <c:v>-5.6000000000000001E-2</c:v>
                </c:pt>
              </c:numCache>
            </c:numRef>
          </c:val>
          <c:extLst>
            <c:ext xmlns:c16="http://schemas.microsoft.com/office/drawing/2014/chart" uri="{C3380CC4-5D6E-409C-BE32-E72D297353CC}">
              <c16:uniqueId val="{00000000-90D7-8649-909D-EB786A0AC27F}"/>
            </c:ext>
          </c:extLst>
        </c:ser>
        <c:ser>
          <c:idx val="1"/>
          <c:order val="1"/>
          <c:tx>
            <c:v>2019 vs 2020</c:v>
          </c:tx>
          <c:spPr>
            <a:gradFill rotWithShape="1">
              <a:gsLst>
                <a:gs pos="0">
                  <a:schemeClr val="accent2">
                    <a:tint val="96000"/>
                    <a:satMod val="100000"/>
                    <a:lumMod val="104000"/>
                  </a:schemeClr>
                </a:gs>
                <a:gs pos="78000">
                  <a:schemeClr val="accent2">
                    <a:shade val="100000"/>
                    <a:satMod val="110000"/>
                    <a:lumMod val="100000"/>
                  </a:schemeClr>
                </a:gs>
              </a:gsLst>
              <a:lin ang="5400000" scaled="0"/>
            </a:gradFill>
            <a:ln>
              <a:noFill/>
            </a:ln>
            <a:effectLst/>
            <a:scene3d>
              <a:camera prst="orthographicFront">
                <a:rot lat="0" lon="0" rev="0"/>
              </a:camera>
              <a:lightRig rig="threePt" dir="t"/>
            </a:scene3d>
            <a:sp3d>
              <a:bevelT w="25400" h="127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Foglio2!$K$4:$L$4</c:f>
              <c:strCache>
                <c:ptCount val="2"/>
                <c:pt idx="0">
                  <c:v>Δ n. ricette</c:v>
                </c:pt>
                <c:pt idx="1">
                  <c:v>Δ spesa pro-capite pesata</c:v>
                </c:pt>
              </c:strCache>
            </c:strRef>
          </c:cat>
          <c:val>
            <c:numRef>
              <c:f>Foglio2!$K$6:$L$6</c:f>
              <c:numCache>
                <c:formatCode>0.0%</c:formatCode>
                <c:ptCount val="2"/>
                <c:pt idx="0">
                  <c:v>-0.106</c:v>
                </c:pt>
                <c:pt idx="1">
                  <c:v>-0.11899999999999999</c:v>
                </c:pt>
              </c:numCache>
            </c:numRef>
          </c:val>
          <c:extLst>
            <c:ext xmlns:c16="http://schemas.microsoft.com/office/drawing/2014/chart" uri="{C3380CC4-5D6E-409C-BE32-E72D297353CC}">
              <c16:uniqueId val="{00000001-90D7-8649-909D-EB786A0AC27F}"/>
            </c:ext>
          </c:extLst>
        </c:ser>
        <c:dLbls>
          <c:showLegendKey val="0"/>
          <c:showVal val="0"/>
          <c:showCatName val="0"/>
          <c:showSerName val="0"/>
          <c:showPercent val="0"/>
          <c:showBubbleSize val="0"/>
        </c:dLbls>
        <c:gapWidth val="100"/>
        <c:overlap val="-24"/>
        <c:axId val="642217792"/>
        <c:axId val="591444160"/>
      </c:barChart>
      <c:catAx>
        <c:axId val="642217792"/>
        <c:scaling>
          <c:orientation val="minMax"/>
        </c:scaling>
        <c:delete val="0"/>
        <c:axPos val="b"/>
        <c:numFmt formatCode="General" sourceLinked="1"/>
        <c:majorTickMark val="none"/>
        <c:minorTickMark val="none"/>
        <c:tickLblPos val="high"/>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it-IT"/>
          </a:p>
        </c:txPr>
        <c:crossAx val="591444160"/>
        <c:crosses val="autoZero"/>
        <c:auto val="1"/>
        <c:lblAlgn val="ctr"/>
        <c:lblOffset val="100"/>
        <c:noMultiLvlLbl val="0"/>
      </c:catAx>
      <c:valAx>
        <c:axId val="591444160"/>
        <c:scaling>
          <c:orientation val="minMax"/>
        </c:scaling>
        <c:delete val="0"/>
        <c:axPos val="l"/>
        <c:majorGridlines>
          <c:spPr>
            <a:ln w="9525" cap="flat" cmpd="sng" algn="ctr">
              <a:solidFill>
                <a:schemeClr val="tx2">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it-IT"/>
          </a:p>
        </c:txPr>
        <c:crossAx val="6422177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it-IT"/>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baseline="0">
                <a:solidFill>
                  <a:schemeClr val="tx2"/>
                </a:solidFill>
                <a:latin typeface="+mn-lt"/>
                <a:ea typeface="+mn-ea"/>
                <a:cs typeface="+mn-cs"/>
              </a:defRPr>
            </a:pPr>
            <a:r>
              <a:rPr lang="it-IT" sz="1800" dirty="0"/>
              <a:t>Spesa pro-capite </a:t>
            </a:r>
            <a:r>
              <a:rPr lang="it-IT" sz="1800" dirty="0" smtClean="0"/>
              <a:t>pesata</a:t>
            </a:r>
          </a:p>
          <a:p>
            <a:pPr>
              <a:defRPr/>
            </a:pPr>
            <a:r>
              <a:rPr lang="it-IT" sz="1800" dirty="0" smtClean="0"/>
              <a:t> 2018-2020</a:t>
            </a:r>
            <a:endParaRPr lang="it-IT" sz="1800" dirty="0"/>
          </a:p>
        </c:rich>
      </c:tx>
      <c:overlay val="0"/>
      <c:spPr>
        <a:noFill/>
        <a:ln>
          <a:noFill/>
        </a:ln>
        <a:effectLst/>
      </c:spPr>
      <c:txPr>
        <a:bodyPr rot="0" spcFirstLastPara="1" vertOverflow="ellipsis" vert="horz" wrap="square" anchor="ctr" anchorCtr="1"/>
        <a:lstStyle/>
        <a:p>
          <a:pPr>
            <a:defRPr sz="2128" b="1" i="0" u="none" strike="noStrike" kern="1200" baseline="0">
              <a:solidFill>
                <a:schemeClr val="tx2"/>
              </a:solidFill>
              <a:latin typeface="+mn-lt"/>
              <a:ea typeface="+mn-ea"/>
              <a:cs typeface="+mn-cs"/>
            </a:defRPr>
          </a:pPr>
          <a:endParaRPr lang="it-IT"/>
        </a:p>
      </c:txPr>
    </c:title>
    <c:autoTitleDeleted val="0"/>
    <c:plotArea>
      <c:layout/>
      <c:barChart>
        <c:barDir val="col"/>
        <c:grouping val="clustered"/>
        <c:varyColors val="0"/>
        <c:ser>
          <c:idx val="0"/>
          <c:order val="0"/>
          <c:tx>
            <c:v>ASUGI</c:v>
          </c:tx>
          <c:spPr>
            <a:solidFill>
              <a:srgbClr val="00B050"/>
            </a:solidFill>
            <a:ln>
              <a:noFill/>
            </a:ln>
            <a:effectLst/>
            <a:scene3d>
              <a:camera prst="orthographicFront">
                <a:rot lat="0" lon="0" rev="0"/>
              </a:camera>
              <a:lightRig rig="threePt" dir="t"/>
            </a:scene3d>
            <a:sp3d>
              <a:bevelT w="25400" h="12700"/>
            </a:sp3d>
          </c:spPr>
          <c:invertIfNegative val="0"/>
          <c:dPt>
            <c:idx val="0"/>
            <c:invertIfNegative val="0"/>
            <c:bubble3D val="0"/>
            <c:spPr>
              <a:solidFill>
                <a:srgbClr val="00B050"/>
              </a:solidFill>
              <a:ln>
                <a:noFill/>
              </a:ln>
              <a:effectLst>
                <a:outerShdw blurRad="40000" dist="23000" dir="5400000" rotWithShape="0">
                  <a:srgbClr val="000000">
                    <a:alpha val="35000"/>
                  </a:srgbClr>
                </a:outerShdw>
              </a:effectLst>
              <a:scene3d>
                <a:camera prst="orthographicFront">
                  <a:rot lat="0" lon="0" rev="0"/>
                </a:camera>
                <a:lightRig rig="threePt" dir="t"/>
              </a:scene3d>
              <a:sp3d>
                <a:bevelT w="25400" h="12700"/>
              </a:sp3d>
            </c:spPr>
            <c:extLst>
              <c:ext xmlns:c16="http://schemas.microsoft.com/office/drawing/2014/chart" uri="{C3380CC4-5D6E-409C-BE32-E72D297353CC}">
                <c16:uniqueId val="{00000001-D813-C845-A52F-440F64389C7C}"/>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it-IT"/>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numRef>
              <c:f>Foglio2!$K$43:$M$43</c:f>
              <c:numCache>
                <c:formatCode>General</c:formatCode>
                <c:ptCount val="3"/>
                <c:pt idx="0">
                  <c:v>2018</c:v>
                </c:pt>
                <c:pt idx="1">
                  <c:v>2019</c:v>
                </c:pt>
                <c:pt idx="2">
                  <c:v>2020</c:v>
                </c:pt>
              </c:numCache>
            </c:numRef>
          </c:cat>
          <c:val>
            <c:numRef>
              <c:f>Foglio2!$K$44:$M$44</c:f>
              <c:numCache>
                <c:formatCode>#,##0.0\ "€"</c:formatCode>
                <c:ptCount val="3"/>
                <c:pt idx="0">
                  <c:v>6.92</c:v>
                </c:pt>
                <c:pt idx="1">
                  <c:v>6.66</c:v>
                </c:pt>
                <c:pt idx="2">
                  <c:v>5.99</c:v>
                </c:pt>
              </c:numCache>
            </c:numRef>
          </c:val>
          <c:extLst>
            <c:ext xmlns:c16="http://schemas.microsoft.com/office/drawing/2014/chart" uri="{C3380CC4-5D6E-409C-BE32-E72D297353CC}">
              <c16:uniqueId val="{00000002-D813-C845-A52F-440F64389C7C}"/>
            </c:ext>
          </c:extLst>
        </c:ser>
        <c:ser>
          <c:idx val="1"/>
          <c:order val="1"/>
          <c:tx>
            <c:v>Azienda 1</c:v>
          </c:tx>
          <c:spPr>
            <a:solidFill>
              <a:schemeClr val="tx2">
                <a:lumMod val="75000"/>
              </a:schemeClr>
            </a:solidFill>
            <a:ln>
              <a:solidFill>
                <a:schemeClr val="tx1"/>
              </a:solidFill>
            </a:ln>
            <a:effectLst/>
            <a:scene3d>
              <a:camera prst="orthographicFront">
                <a:rot lat="0" lon="0" rev="0"/>
              </a:camera>
              <a:lightRig rig="threePt" dir="t"/>
            </a:scene3d>
            <a:sp3d>
              <a:bevelT w="25400" h="127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it-IT"/>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numRef>
              <c:f>Foglio2!$K$43:$M$43</c:f>
              <c:numCache>
                <c:formatCode>General</c:formatCode>
                <c:ptCount val="3"/>
                <c:pt idx="0">
                  <c:v>2018</c:v>
                </c:pt>
                <c:pt idx="1">
                  <c:v>2019</c:v>
                </c:pt>
                <c:pt idx="2">
                  <c:v>2020</c:v>
                </c:pt>
              </c:numCache>
            </c:numRef>
          </c:cat>
          <c:val>
            <c:numRef>
              <c:f>Foglio2!$K$45:$M$45</c:f>
              <c:numCache>
                <c:formatCode>#,##0.0\ "€"</c:formatCode>
                <c:ptCount val="3"/>
                <c:pt idx="0">
                  <c:v>7.03</c:v>
                </c:pt>
                <c:pt idx="1">
                  <c:v>6.94</c:v>
                </c:pt>
                <c:pt idx="2">
                  <c:v>6.48</c:v>
                </c:pt>
              </c:numCache>
            </c:numRef>
          </c:val>
          <c:extLst>
            <c:ext xmlns:c16="http://schemas.microsoft.com/office/drawing/2014/chart" uri="{C3380CC4-5D6E-409C-BE32-E72D297353CC}">
              <c16:uniqueId val="{00000003-D813-C845-A52F-440F64389C7C}"/>
            </c:ext>
          </c:extLst>
        </c:ser>
        <c:ser>
          <c:idx val="2"/>
          <c:order val="2"/>
          <c:tx>
            <c:v>Azienda 2</c:v>
          </c:tx>
          <c:spPr>
            <a:solidFill>
              <a:srgbClr val="FF9900"/>
            </a:solidFill>
            <a:ln>
              <a:noFill/>
            </a:ln>
            <a:effectLst/>
            <a:scene3d>
              <a:camera prst="orthographicFront">
                <a:rot lat="0" lon="0" rev="0"/>
              </a:camera>
              <a:lightRig rig="threePt" dir="t"/>
            </a:scene3d>
            <a:sp3d>
              <a:bevelT w="25400" h="127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it-IT"/>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numRef>
              <c:f>Foglio2!$K$43:$M$43</c:f>
              <c:numCache>
                <c:formatCode>General</c:formatCode>
                <c:ptCount val="3"/>
                <c:pt idx="0">
                  <c:v>2018</c:v>
                </c:pt>
                <c:pt idx="1">
                  <c:v>2019</c:v>
                </c:pt>
                <c:pt idx="2">
                  <c:v>2020</c:v>
                </c:pt>
              </c:numCache>
            </c:numRef>
          </c:cat>
          <c:val>
            <c:numRef>
              <c:f>Foglio2!$K$46:$M$46</c:f>
              <c:numCache>
                <c:formatCode>#,##0.0\ "€"</c:formatCode>
                <c:ptCount val="3"/>
                <c:pt idx="0">
                  <c:v>6.92</c:v>
                </c:pt>
                <c:pt idx="1">
                  <c:v>6.61</c:v>
                </c:pt>
                <c:pt idx="2">
                  <c:v>6.25</c:v>
                </c:pt>
              </c:numCache>
            </c:numRef>
          </c:val>
          <c:extLst>
            <c:ext xmlns:c16="http://schemas.microsoft.com/office/drawing/2014/chart" uri="{C3380CC4-5D6E-409C-BE32-E72D297353CC}">
              <c16:uniqueId val="{00000004-D813-C845-A52F-440F64389C7C}"/>
            </c:ext>
          </c:extLst>
        </c:ser>
        <c:dLbls>
          <c:dLblPos val="outEnd"/>
          <c:showLegendKey val="0"/>
          <c:showVal val="1"/>
          <c:showCatName val="0"/>
          <c:showSerName val="0"/>
          <c:showPercent val="0"/>
          <c:showBubbleSize val="0"/>
        </c:dLbls>
        <c:gapWidth val="100"/>
        <c:overlap val="-24"/>
        <c:axId val="643037584"/>
        <c:axId val="643089536"/>
      </c:barChart>
      <c:catAx>
        <c:axId val="643037584"/>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it-IT"/>
          </a:p>
        </c:txPr>
        <c:crossAx val="643089536"/>
        <c:crosses val="autoZero"/>
        <c:auto val="1"/>
        <c:lblAlgn val="ctr"/>
        <c:lblOffset val="100"/>
        <c:noMultiLvlLbl val="0"/>
      </c:catAx>
      <c:valAx>
        <c:axId val="643089536"/>
        <c:scaling>
          <c:orientation val="minMax"/>
        </c:scaling>
        <c:delete val="0"/>
        <c:axPos val="l"/>
        <c:majorGridlines>
          <c:spPr>
            <a:ln w="9525" cap="flat" cmpd="sng" algn="ctr">
              <a:solidFill>
                <a:schemeClr val="tx2">
                  <a:lumMod val="15000"/>
                  <a:lumOff val="85000"/>
                </a:schemeClr>
              </a:solidFill>
              <a:round/>
            </a:ln>
            <a:effectLst/>
          </c:spPr>
        </c:majorGridlines>
        <c:title>
          <c:tx>
            <c:rich>
              <a:bodyPr rot="-5400000" spcFirstLastPara="1" vertOverflow="ellipsis" vert="horz" wrap="square" anchor="ctr" anchorCtr="1"/>
              <a:lstStyle/>
              <a:p>
                <a:pPr>
                  <a:defRPr sz="1197" b="1" i="0" u="none" strike="noStrike" kern="1200" baseline="0">
                    <a:solidFill>
                      <a:schemeClr val="tx2"/>
                    </a:solidFill>
                    <a:latin typeface="+mn-lt"/>
                    <a:ea typeface="+mn-ea"/>
                    <a:cs typeface="+mn-cs"/>
                  </a:defRPr>
                </a:pPr>
                <a:r>
                  <a:rPr lang="it-IT"/>
                  <a:t>Spesa pro-capite pesata</a:t>
                </a:r>
              </a:p>
            </c:rich>
          </c:tx>
          <c:overlay val="0"/>
          <c:spPr>
            <a:noFill/>
            <a:ln>
              <a:noFill/>
            </a:ln>
            <a:effectLst/>
          </c:spPr>
          <c:txPr>
            <a:bodyPr rot="-5400000" spcFirstLastPara="1" vertOverflow="ellipsis" vert="horz" wrap="square" anchor="ctr" anchorCtr="1"/>
            <a:lstStyle/>
            <a:p>
              <a:pPr>
                <a:defRPr sz="1197" b="1" i="0" u="none" strike="noStrike" kern="1200" baseline="0">
                  <a:solidFill>
                    <a:schemeClr val="tx2"/>
                  </a:solidFill>
                  <a:latin typeface="+mn-lt"/>
                  <a:ea typeface="+mn-ea"/>
                  <a:cs typeface="+mn-cs"/>
                </a:defRPr>
              </a:pPr>
              <a:endParaRPr lang="it-IT"/>
            </a:p>
          </c:txPr>
        </c:title>
        <c:numFmt formatCode="#,##0.0\ &quot;€&quot;"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it-IT"/>
          </a:p>
        </c:txPr>
        <c:crossAx val="6430375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it-IT"/>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baseline="0">
                <a:solidFill>
                  <a:schemeClr val="tx2"/>
                </a:solidFill>
                <a:latin typeface="+mn-lt"/>
                <a:ea typeface="+mn-ea"/>
                <a:cs typeface="+mn-cs"/>
              </a:defRPr>
            </a:pPr>
            <a:r>
              <a:rPr lang="it-IT"/>
              <a:t> Costi complessivi </a:t>
            </a:r>
          </a:p>
        </c:rich>
      </c:tx>
      <c:overlay val="0"/>
      <c:spPr>
        <a:noFill/>
        <a:ln>
          <a:noFill/>
        </a:ln>
        <a:effectLst/>
      </c:spPr>
      <c:txPr>
        <a:bodyPr rot="0" spcFirstLastPara="1" vertOverflow="ellipsis" vert="horz" wrap="square" anchor="ctr" anchorCtr="1"/>
        <a:lstStyle/>
        <a:p>
          <a:pPr>
            <a:defRPr sz="2128" b="1" i="0" u="none" strike="noStrike" kern="1200" baseline="0">
              <a:solidFill>
                <a:schemeClr val="tx2"/>
              </a:solidFill>
              <a:latin typeface="+mn-lt"/>
              <a:ea typeface="+mn-ea"/>
              <a:cs typeface="+mn-cs"/>
            </a:defRPr>
          </a:pPr>
          <a:endParaRPr lang="it-IT"/>
        </a:p>
      </c:txPr>
    </c:title>
    <c:autoTitleDeleted val="0"/>
    <c:plotArea>
      <c:layout>
        <c:manualLayout>
          <c:layoutTarget val="inner"/>
          <c:xMode val="edge"/>
          <c:yMode val="edge"/>
          <c:x val="1.3303769401330377E-2"/>
          <c:y val="0.17248024750761096"/>
          <c:w val="0.96747967479674801"/>
          <c:h val="0.80239125449124682"/>
        </c:manualLayout>
      </c:layout>
      <c:barChart>
        <c:barDir val="col"/>
        <c:grouping val="stacked"/>
        <c:varyColors val="0"/>
        <c:ser>
          <c:idx val="0"/>
          <c:order val="0"/>
          <c:spPr>
            <a:gradFill rotWithShape="1">
              <a:gsLst>
                <a:gs pos="0">
                  <a:schemeClr val="accent1">
                    <a:tint val="96000"/>
                    <a:satMod val="100000"/>
                    <a:lumMod val="104000"/>
                  </a:schemeClr>
                </a:gs>
                <a:gs pos="78000">
                  <a:schemeClr val="accent1">
                    <a:shade val="100000"/>
                    <a:satMod val="110000"/>
                    <a:lumMod val="100000"/>
                  </a:schemeClr>
                </a:gs>
              </a:gsLst>
              <a:lin ang="5400000" scaled="0"/>
            </a:gradFill>
            <a:ln>
              <a:noFill/>
            </a:ln>
            <a:effectLst>
              <a:outerShdw blurRad="40000" dist="23000" dir="5400000" rotWithShape="0">
                <a:schemeClr val="bg1">
                  <a:alpha val="35000"/>
                </a:schemeClr>
              </a:outerShdw>
            </a:effectLst>
            <a:scene3d>
              <a:camera prst="orthographicFront">
                <a:rot lat="0" lon="0" rev="0"/>
              </a:camera>
              <a:lightRig rig="threePt" dir="t"/>
            </a:scene3d>
            <a:sp3d>
              <a:bevelT w="25400" h="12700"/>
            </a:sp3d>
          </c:spPr>
          <c:invertIfNegative val="0"/>
          <c:dPt>
            <c:idx val="0"/>
            <c:invertIfNegative val="0"/>
            <c:bubble3D val="0"/>
            <c:spPr>
              <a:solidFill>
                <a:srgbClr val="00B050"/>
              </a:solidFill>
              <a:ln>
                <a:noFill/>
              </a:ln>
              <a:effectLst>
                <a:outerShdw blurRad="40000" dist="23000" dir="5400000" rotWithShape="0">
                  <a:schemeClr val="bg1">
                    <a:alpha val="35000"/>
                  </a:schemeClr>
                </a:outerShdw>
              </a:effectLst>
              <a:scene3d>
                <a:camera prst="orthographicFront">
                  <a:rot lat="0" lon="0" rev="0"/>
                </a:camera>
                <a:lightRig rig="threePt" dir="t"/>
              </a:scene3d>
              <a:sp3d>
                <a:bevelT w="25400" h="12700"/>
              </a:sp3d>
            </c:spPr>
            <c:extLst>
              <c:ext xmlns:c16="http://schemas.microsoft.com/office/drawing/2014/chart" uri="{C3380CC4-5D6E-409C-BE32-E72D297353CC}">
                <c16:uniqueId val="{00000001-CE6E-4C2F-8966-4D80C6814222}"/>
              </c:ext>
            </c:extLst>
          </c:dPt>
          <c:dPt>
            <c:idx val="1"/>
            <c:invertIfNegative val="0"/>
            <c:bubble3D val="0"/>
            <c:extLst>
              <c:ext xmlns:c16="http://schemas.microsoft.com/office/drawing/2014/chart" uri="{C3380CC4-5D6E-409C-BE32-E72D297353CC}">
                <c16:uniqueId val="{00000003-CE6E-4C2F-8966-4D80C6814222}"/>
              </c:ext>
            </c:extLst>
          </c:dPt>
          <c:dPt>
            <c:idx val="2"/>
            <c:invertIfNegative val="0"/>
            <c:bubble3D val="0"/>
            <c:spPr>
              <a:noFill/>
              <a:ln>
                <a:noFill/>
              </a:ln>
              <a:effectLst>
                <a:outerShdw blurRad="40000" dist="23000" dir="5400000" rotWithShape="0">
                  <a:schemeClr val="bg1">
                    <a:alpha val="35000"/>
                  </a:schemeClr>
                </a:outerShdw>
              </a:effectLst>
            </c:spPr>
            <c:extLst>
              <c:ext xmlns:c16="http://schemas.microsoft.com/office/drawing/2014/chart" uri="{C3380CC4-5D6E-409C-BE32-E72D297353CC}">
                <c16:uniqueId val="{00000005-CE6E-4C2F-8966-4D80C6814222}"/>
              </c:ext>
            </c:extLst>
          </c:dPt>
          <c:dPt>
            <c:idx val="3"/>
            <c:invertIfNegative val="0"/>
            <c:bubble3D val="0"/>
            <c:spPr>
              <a:noFill/>
              <a:ln>
                <a:noFill/>
              </a:ln>
              <a:effectLst>
                <a:outerShdw blurRad="40000" dist="23000" dir="5400000" rotWithShape="0">
                  <a:schemeClr val="bg1">
                    <a:alpha val="35000"/>
                  </a:schemeClr>
                </a:outerShdw>
              </a:effectLst>
            </c:spPr>
            <c:extLst>
              <c:ext xmlns:c16="http://schemas.microsoft.com/office/drawing/2014/chart" uri="{C3380CC4-5D6E-409C-BE32-E72D297353CC}">
                <c16:uniqueId val="{00000007-CE6E-4C2F-8966-4D80C6814222}"/>
              </c:ext>
            </c:extLst>
          </c:dPt>
          <c:dPt>
            <c:idx val="4"/>
            <c:invertIfNegative val="0"/>
            <c:bubble3D val="0"/>
            <c:spPr>
              <a:noFill/>
              <a:ln>
                <a:noFill/>
              </a:ln>
              <a:effectLst>
                <a:outerShdw blurRad="40000" dist="23000" dir="5400000" rotWithShape="0">
                  <a:schemeClr val="bg1">
                    <a:alpha val="35000"/>
                  </a:schemeClr>
                </a:outerShdw>
              </a:effectLst>
            </c:spPr>
            <c:extLst>
              <c:ext xmlns:c16="http://schemas.microsoft.com/office/drawing/2014/chart" uri="{C3380CC4-5D6E-409C-BE32-E72D297353CC}">
                <c16:uniqueId val="{00000009-CE6E-4C2F-8966-4D80C6814222}"/>
              </c:ext>
            </c:extLst>
          </c:dPt>
          <c:cat>
            <c:strRef>
              <c:f>Foglio1!$B$16:$B$20</c:f>
              <c:strCache>
                <c:ptCount val="5"/>
                <c:pt idx="0">
                  <c:v>farmaco</c:v>
                </c:pt>
                <c:pt idx="1">
                  <c:v>MACE</c:v>
                </c:pt>
                <c:pt idx="2">
                  <c:v>automonitoraggio glicemico</c:v>
                </c:pt>
                <c:pt idx="3">
                  <c:v>ipoglicemie</c:v>
                </c:pt>
                <c:pt idx="4">
                  <c:v>visite</c:v>
                </c:pt>
              </c:strCache>
            </c:strRef>
          </c:cat>
          <c:val>
            <c:numRef>
              <c:f>Foglio1!$C$16:$C$20</c:f>
              <c:numCache>
                <c:formatCode>General</c:formatCode>
                <c:ptCount val="5"/>
                <c:pt idx="0">
                  <c:v>-100</c:v>
                </c:pt>
                <c:pt idx="1">
                  <c:v>-45</c:v>
                </c:pt>
                <c:pt idx="2">
                  <c:v>-45</c:v>
                </c:pt>
                <c:pt idx="3">
                  <c:v>-45</c:v>
                </c:pt>
                <c:pt idx="4">
                  <c:v>-45</c:v>
                </c:pt>
              </c:numCache>
            </c:numRef>
          </c:val>
          <c:extLst>
            <c:ext xmlns:c16="http://schemas.microsoft.com/office/drawing/2014/chart" uri="{C3380CC4-5D6E-409C-BE32-E72D297353CC}">
              <c16:uniqueId val="{0000000A-CE6E-4C2F-8966-4D80C6814222}"/>
            </c:ext>
          </c:extLst>
        </c:ser>
        <c:ser>
          <c:idx val="1"/>
          <c:order val="1"/>
          <c:spPr>
            <a:gradFill rotWithShape="1">
              <a:gsLst>
                <a:gs pos="0">
                  <a:schemeClr val="accent2">
                    <a:tint val="96000"/>
                    <a:satMod val="100000"/>
                    <a:lumMod val="104000"/>
                  </a:schemeClr>
                </a:gs>
                <a:gs pos="78000">
                  <a:schemeClr val="accent2">
                    <a:shade val="100000"/>
                    <a:satMod val="110000"/>
                    <a:lumMod val="100000"/>
                  </a:schemeClr>
                </a:gs>
              </a:gsLst>
              <a:lin ang="5400000" scaled="0"/>
            </a:gradFill>
            <a:ln>
              <a:noFill/>
            </a:ln>
            <a:effectLst/>
            <a:scene3d>
              <a:camera prst="orthographicFront">
                <a:rot lat="0" lon="0" rev="0"/>
              </a:camera>
              <a:lightRig rig="threePt" dir="t"/>
            </a:scene3d>
            <a:sp3d>
              <a:bevelT w="25400" h="12700"/>
            </a:sp3d>
          </c:spPr>
          <c:invertIfNegative val="0"/>
          <c:dPt>
            <c:idx val="2"/>
            <c:invertIfNegative val="0"/>
            <c:bubble3D val="0"/>
            <c:extLst>
              <c:ext xmlns:c16="http://schemas.microsoft.com/office/drawing/2014/chart" uri="{C3380CC4-5D6E-409C-BE32-E72D297353CC}">
                <c16:uniqueId val="{0000000C-CE6E-4C2F-8966-4D80C6814222}"/>
              </c:ext>
            </c:extLst>
          </c:dPt>
          <c:dPt>
            <c:idx val="3"/>
            <c:invertIfNegative val="0"/>
            <c:bubble3D val="0"/>
            <c:spPr>
              <a:noFill/>
              <a:ln>
                <a:noFill/>
              </a:ln>
              <a:effectLst>
                <a:outerShdw blurRad="40000" dist="23000" dir="5400000" rotWithShape="0">
                  <a:schemeClr val="bg1">
                    <a:alpha val="35000"/>
                  </a:schemeClr>
                </a:outerShdw>
              </a:effectLst>
            </c:spPr>
            <c:extLst>
              <c:ext xmlns:c16="http://schemas.microsoft.com/office/drawing/2014/chart" uri="{C3380CC4-5D6E-409C-BE32-E72D297353CC}">
                <c16:uniqueId val="{0000000E-CE6E-4C2F-8966-4D80C6814222}"/>
              </c:ext>
            </c:extLst>
          </c:dPt>
          <c:dPt>
            <c:idx val="4"/>
            <c:invertIfNegative val="0"/>
            <c:bubble3D val="0"/>
            <c:spPr>
              <a:noFill/>
              <a:ln>
                <a:noFill/>
              </a:ln>
              <a:effectLst>
                <a:outerShdw blurRad="40000" dist="23000" dir="5400000" rotWithShape="0">
                  <a:schemeClr val="bg1">
                    <a:alpha val="35000"/>
                  </a:schemeClr>
                </a:outerShdw>
              </a:effectLst>
            </c:spPr>
            <c:extLst>
              <c:ext xmlns:c16="http://schemas.microsoft.com/office/drawing/2014/chart" uri="{C3380CC4-5D6E-409C-BE32-E72D297353CC}">
                <c16:uniqueId val="{00000010-CE6E-4C2F-8966-4D80C6814222}"/>
              </c:ext>
            </c:extLst>
          </c:dPt>
          <c:cat>
            <c:strRef>
              <c:f>Foglio1!$B$16:$B$20</c:f>
              <c:strCache>
                <c:ptCount val="5"/>
                <c:pt idx="0">
                  <c:v>farmaco</c:v>
                </c:pt>
                <c:pt idx="1">
                  <c:v>MACE</c:v>
                </c:pt>
                <c:pt idx="2">
                  <c:v>automonitoraggio glicemico</c:v>
                </c:pt>
                <c:pt idx="3">
                  <c:v>ipoglicemie</c:v>
                </c:pt>
                <c:pt idx="4">
                  <c:v>visite</c:v>
                </c:pt>
              </c:strCache>
            </c:strRef>
          </c:cat>
          <c:val>
            <c:numRef>
              <c:f>Foglio1!$D$16:$D$20</c:f>
              <c:numCache>
                <c:formatCode>General</c:formatCode>
                <c:ptCount val="5"/>
                <c:pt idx="0">
                  <c:v>0</c:v>
                </c:pt>
                <c:pt idx="1">
                  <c:v>0</c:v>
                </c:pt>
                <c:pt idx="2">
                  <c:v>-35</c:v>
                </c:pt>
                <c:pt idx="3">
                  <c:v>-35</c:v>
                </c:pt>
                <c:pt idx="4">
                  <c:v>-35</c:v>
                </c:pt>
              </c:numCache>
            </c:numRef>
          </c:val>
          <c:extLst>
            <c:ext xmlns:c16="http://schemas.microsoft.com/office/drawing/2014/chart" uri="{C3380CC4-5D6E-409C-BE32-E72D297353CC}">
              <c16:uniqueId val="{00000011-CE6E-4C2F-8966-4D80C6814222}"/>
            </c:ext>
          </c:extLst>
        </c:ser>
        <c:ser>
          <c:idx val="2"/>
          <c:order val="2"/>
          <c:spPr>
            <a:solidFill>
              <a:srgbClr val="FFFF00"/>
            </a:solidFill>
            <a:ln>
              <a:noFill/>
            </a:ln>
            <a:effectLst/>
            <a:scene3d>
              <a:camera prst="orthographicFront">
                <a:rot lat="0" lon="0" rev="0"/>
              </a:camera>
              <a:lightRig rig="threePt" dir="t"/>
            </a:scene3d>
            <a:sp3d>
              <a:bevelT w="25400" h="12700"/>
            </a:sp3d>
          </c:spPr>
          <c:invertIfNegative val="0"/>
          <c:dPt>
            <c:idx val="3"/>
            <c:invertIfNegative val="0"/>
            <c:bubble3D val="0"/>
            <c:extLst>
              <c:ext xmlns:c16="http://schemas.microsoft.com/office/drawing/2014/chart" uri="{C3380CC4-5D6E-409C-BE32-E72D297353CC}">
                <c16:uniqueId val="{00000013-CE6E-4C2F-8966-4D80C6814222}"/>
              </c:ext>
            </c:extLst>
          </c:dPt>
          <c:dPt>
            <c:idx val="4"/>
            <c:invertIfNegative val="0"/>
            <c:bubble3D val="0"/>
            <c:spPr>
              <a:noFill/>
              <a:ln>
                <a:noFill/>
              </a:ln>
              <a:effectLst>
                <a:outerShdw blurRad="40000" dist="23000" dir="5400000" rotWithShape="0">
                  <a:schemeClr val="bg1">
                    <a:alpha val="35000"/>
                  </a:schemeClr>
                </a:outerShdw>
              </a:effectLst>
            </c:spPr>
            <c:extLst>
              <c:ext xmlns:c16="http://schemas.microsoft.com/office/drawing/2014/chart" uri="{C3380CC4-5D6E-409C-BE32-E72D297353CC}">
                <c16:uniqueId val="{00000015-CE6E-4C2F-8966-4D80C6814222}"/>
              </c:ext>
            </c:extLst>
          </c:dPt>
          <c:cat>
            <c:strRef>
              <c:f>Foglio1!$B$16:$B$20</c:f>
              <c:strCache>
                <c:ptCount val="5"/>
                <c:pt idx="0">
                  <c:v>farmaco</c:v>
                </c:pt>
                <c:pt idx="1">
                  <c:v>MACE</c:v>
                </c:pt>
                <c:pt idx="2">
                  <c:v>automonitoraggio glicemico</c:v>
                </c:pt>
                <c:pt idx="3">
                  <c:v>ipoglicemie</c:v>
                </c:pt>
                <c:pt idx="4">
                  <c:v>visite</c:v>
                </c:pt>
              </c:strCache>
            </c:strRef>
          </c:cat>
          <c:val>
            <c:numRef>
              <c:f>Foglio1!$E$16:$E$20</c:f>
              <c:numCache>
                <c:formatCode>General</c:formatCode>
                <c:ptCount val="5"/>
                <c:pt idx="0">
                  <c:v>0</c:v>
                </c:pt>
                <c:pt idx="1">
                  <c:v>0</c:v>
                </c:pt>
                <c:pt idx="2">
                  <c:v>0</c:v>
                </c:pt>
                <c:pt idx="3">
                  <c:v>-7</c:v>
                </c:pt>
                <c:pt idx="4">
                  <c:v>-7</c:v>
                </c:pt>
              </c:numCache>
            </c:numRef>
          </c:val>
          <c:extLst>
            <c:ext xmlns:c16="http://schemas.microsoft.com/office/drawing/2014/chart" uri="{C3380CC4-5D6E-409C-BE32-E72D297353CC}">
              <c16:uniqueId val="{00000016-CE6E-4C2F-8966-4D80C6814222}"/>
            </c:ext>
          </c:extLst>
        </c:ser>
        <c:ser>
          <c:idx val="3"/>
          <c:order val="3"/>
          <c:spPr>
            <a:gradFill rotWithShape="1">
              <a:gsLst>
                <a:gs pos="0">
                  <a:schemeClr val="accent4">
                    <a:tint val="96000"/>
                    <a:satMod val="100000"/>
                    <a:lumMod val="104000"/>
                  </a:schemeClr>
                </a:gs>
                <a:gs pos="78000">
                  <a:schemeClr val="accent4">
                    <a:shade val="100000"/>
                    <a:satMod val="110000"/>
                    <a:lumMod val="100000"/>
                  </a:schemeClr>
                </a:gs>
              </a:gsLst>
              <a:lin ang="5400000" scaled="0"/>
            </a:gradFill>
            <a:ln>
              <a:noFill/>
            </a:ln>
            <a:effectLst/>
            <a:scene3d>
              <a:camera prst="orthographicFront">
                <a:rot lat="0" lon="0" rev="0"/>
              </a:camera>
              <a:lightRig rig="threePt" dir="t"/>
            </a:scene3d>
            <a:sp3d>
              <a:bevelT w="25400" h="12700"/>
            </a:sp3d>
          </c:spPr>
          <c:invertIfNegative val="0"/>
          <c:cat>
            <c:strRef>
              <c:f>Foglio1!$B$16:$B$20</c:f>
              <c:strCache>
                <c:ptCount val="5"/>
                <c:pt idx="0">
                  <c:v>farmaco</c:v>
                </c:pt>
                <c:pt idx="1">
                  <c:v>MACE</c:v>
                </c:pt>
                <c:pt idx="2">
                  <c:v>automonitoraggio glicemico</c:v>
                </c:pt>
                <c:pt idx="3">
                  <c:v>ipoglicemie</c:v>
                </c:pt>
                <c:pt idx="4">
                  <c:v>visite</c:v>
                </c:pt>
              </c:strCache>
            </c:strRef>
          </c:cat>
          <c:val>
            <c:numRef>
              <c:f>Foglio1!$F$16:$F$20</c:f>
              <c:numCache>
                <c:formatCode>General</c:formatCode>
                <c:ptCount val="5"/>
                <c:pt idx="0">
                  <c:v>0</c:v>
                </c:pt>
                <c:pt idx="1">
                  <c:v>0</c:v>
                </c:pt>
                <c:pt idx="2">
                  <c:v>0</c:v>
                </c:pt>
                <c:pt idx="3">
                  <c:v>0</c:v>
                </c:pt>
                <c:pt idx="4">
                  <c:v>-3</c:v>
                </c:pt>
              </c:numCache>
            </c:numRef>
          </c:val>
          <c:extLst>
            <c:ext xmlns:c16="http://schemas.microsoft.com/office/drawing/2014/chart" uri="{C3380CC4-5D6E-409C-BE32-E72D297353CC}">
              <c16:uniqueId val="{00000017-CE6E-4C2F-8966-4D80C6814222}"/>
            </c:ext>
          </c:extLst>
        </c:ser>
        <c:dLbls>
          <c:showLegendKey val="0"/>
          <c:showVal val="0"/>
          <c:showCatName val="0"/>
          <c:showSerName val="0"/>
          <c:showPercent val="0"/>
          <c:showBubbleSize val="0"/>
        </c:dLbls>
        <c:gapWidth val="150"/>
        <c:overlap val="100"/>
        <c:axId val="1967491216"/>
        <c:axId val="1948941424"/>
      </c:barChart>
      <c:catAx>
        <c:axId val="1967491216"/>
        <c:scaling>
          <c:orientation val="minMax"/>
        </c:scaling>
        <c:delete val="0"/>
        <c:axPos val="b"/>
        <c:numFmt formatCode="General" sourceLinked="1"/>
        <c:majorTickMark val="none"/>
        <c:minorTickMark val="none"/>
        <c:tickLblPos val="high"/>
        <c:spPr>
          <a:noFill/>
          <a:ln w="9525" cap="flat" cmpd="sng" algn="ctr">
            <a:solidFill>
              <a:schemeClr val="tx2">
                <a:lumMod val="15000"/>
                <a:lumOff val="85000"/>
              </a:schemeClr>
            </a:solidFill>
            <a:round/>
          </a:ln>
          <a:effectLst/>
        </c:spPr>
        <c:txPr>
          <a:bodyPr rot="0" spcFirstLastPara="1" vertOverflow="ellipsis" wrap="square" anchor="ctr" anchorCtr="1"/>
          <a:lstStyle/>
          <a:p>
            <a:pPr>
              <a:defRPr sz="1197" b="0" i="0" u="none" strike="noStrike" kern="1200" baseline="0">
                <a:solidFill>
                  <a:schemeClr val="tx2"/>
                </a:solidFill>
                <a:latin typeface="+mn-lt"/>
                <a:ea typeface="+mn-ea"/>
                <a:cs typeface="+mn-cs"/>
              </a:defRPr>
            </a:pPr>
            <a:endParaRPr lang="it-IT"/>
          </a:p>
        </c:txPr>
        <c:crossAx val="1948941424"/>
        <c:crosses val="autoZero"/>
        <c:auto val="1"/>
        <c:lblAlgn val="ctr"/>
        <c:lblOffset val="100"/>
        <c:noMultiLvlLbl val="0"/>
      </c:catAx>
      <c:valAx>
        <c:axId val="1948941424"/>
        <c:scaling>
          <c:orientation val="minMax"/>
          <c:max val="0"/>
          <c:min val="-110"/>
        </c:scaling>
        <c:delete val="0"/>
        <c:axPos val="l"/>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it-IT"/>
          </a:p>
        </c:txPr>
        <c:crossAx val="19674912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baseline="0">
                <a:solidFill>
                  <a:schemeClr val="tx2"/>
                </a:solidFill>
                <a:latin typeface="+mn-lt"/>
                <a:ea typeface="+mn-ea"/>
                <a:cs typeface="+mn-cs"/>
              </a:defRPr>
            </a:pPr>
            <a:r>
              <a:rPr lang="it-IT"/>
              <a:t>Procapite convenzionata netta + DPC</a:t>
            </a:r>
          </a:p>
        </c:rich>
      </c:tx>
      <c:layout>
        <c:manualLayout>
          <c:xMode val="edge"/>
          <c:yMode val="edge"/>
          <c:x val="0.15255371017364552"/>
          <c:y val="1.7725258493353029E-2"/>
        </c:manualLayout>
      </c:layout>
      <c:overlay val="0"/>
      <c:spPr>
        <a:noFill/>
        <a:ln>
          <a:noFill/>
        </a:ln>
        <a:effectLst/>
      </c:spPr>
      <c:txPr>
        <a:bodyPr rot="0" spcFirstLastPara="1" vertOverflow="ellipsis" vert="horz" wrap="square" anchor="ctr" anchorCtr="1"/>
        <a:lstStyle/>
        <a:p>
          <a:pPr>
            <a:defRPr sz="2128" b="1" i="0" u="none" strike="noStrike" kern="1200" baseline="0">
              <a:solidFill>
                <a:schemeClr val="tx2"/>
              </a:solidFill>
              <a:latin typeface="+mn-lt"/>
              <a:ea typeface="+mn-ea"/>
              <a:cs typeface="+mn-cs"/>
            </a:defRPr>
          </a:pPr>
          <a:endParaRPr lang="it-IT"/>
        </a:p>
      </c:txPr>
    </c:title>
    <c:autoTitleDeleted val="0"/>
    <c:plotArea>
      <c:layout/>
      <c:barChart>
        <c:barDir val="col"/>
        <c:grouping val="clustered"/>
        <c:varyColors val="0"/>
        <c:ser>
          <c:idx val="0"/>
          <c:order val="0"/>
          <c:tx>
            <c:v>2018</c:v>
          </c:tx>
          <c:spPr>
            <a:solidFill>
              <a:srgbClr val="00B050"/>
            </a:solidFill>
            <a:ln>
              <a:noFill/>
            </a:ln>
            <a:effectLst/>
            <a:scene3d>
              <a:camera prst="orthographicFront">
                <a:rot lat="0" lon="0" rev="0"/>
              </a:camera>
              <a:lightRig rig="threePt" dir="t"/>
            </a:scene3d>
            <a:sp3d>
              <a:bevelT w="25400" h="127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Foglio3!$B$6:$B$10</c:f>
              <c:strCache>
                <c:ptCount val="5"/>
                <c:pt idx="0">
                  <c:v>ASUITS</c:v>
                </c:pt>
                <c:pt idx="1">
                  <c:v>AS1</c:v>
                </c:pt>
                <c:pt idx="2">
                  <c:v>AS2</c:v>
                </c:pt>
                <c:pt idx="3">
                  <c:v>AS3</c:v>
                </c:pt>
                <c:pt idx="4">
                  <c:v>AS4</c:v>
                </c:pt>
              </c:strCache>
            </c:strRef>
          </c:cat>
          <c:val>
            <c:numRef>
              <c:f>Foglio3!$C$6:$C$10</c:f>
              <c:numCache>
                <c:formatCode>#,##0.00\ "€"</c:formatCode>
                <c:ptCount val="5"/>
                <c:pt idx="0">
                  <c:v>147.84</c:v>
                </c:pt>
                <c:pt idx="1">
                  <c:v>160.29</c:v>
                </c:pt>
                <c:pt idx="2">
                  <c:v>149.37</c:v>
                </c:pt>
                <c:pt idx="3">
                  <c:v>152.94999999999999</c:v>
                </c:pt>
                <c:pt idx="4">
                  <c:v>146.38999999999999</c:v>
                </c:pt>
              </c:numCache>
            </c:numRef>
          </c:val>
          <c:extLst>
            <c:ext xmlns:c16="http://schemas.microsoft.com/office/drawing/2014/chart" uri="{C3380CC4-5D6E-409C-BE32-E72D297353CC}">
              <c16:uniqueId val="{00000000-E3E5-2544-90FF-91E653684972}"/>
            </c:ext>
          </c:extLst>
        </c:ser>
        <c:ser>
          <c:idx val="1"/>
          <c:order val="1"/>
          <c:tx>
            <c:v>2019</c:v>
          </c:tx>
          <c:spPr>
            <a:gradFill rotWithShape="1">
              <a:gsLst>
                <a:gs pos="0">
                  <a:schemeClr val="accent2">
                    <a:tint val="96000"/>
                    <a:satMod val="100000"/>
                    <a:lumMod val="104000"/>
                  </a:schemeClr>
                </a:gs>
                <a:gs pos="78000">
                  <a:schemeClr val="accent2">
                    <a:shade val="100000"/>
                    <a:satMod val="110000"/>
                    <a:lumMod val="100000"/>
                  </a:schemeClr>
                </a:gs>
              </a:gsLst>
              <a:lin ang="5400000" scaled="0"/>
            </a:gradFill>
            <a:ln>
              <a:noFill/>
            </a:ln>
            <a:effectLst/>
            <a:scene3d>
              <a:camera prst="orthographicFront">
                <a:rot lat="0" lon="0" rev="0"/>
              </a:camera>
              <a:lightRig rig="threePt" dir="t"/>
            </a:scene3d>
            <a:sp3d>
              <a:bevelT w="25400" h="12700"/>
            </a:sp3d>
          </c:spPr>
          <c:invertIfNegative val="0"/>
          <c:dLbls>
            <c:dLbl>
              <c:idx val="0"/>
              <c:layout>
                <c:manualLayout>
                  <c:x val="6.6225165562913907E-3"/>
                  <c:y val="5.908419497784343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BBB-4281-B489-76B2F28DFBFA}"/>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Foglio3!$B$6:$B$10</c:f>
              <c:strCache>
                <c:ptCount val="5"/>
                <c:pt idx="0">
                  <c:v>ASUITS</c:v>
                </c:pt>
                <c:pt idx="1">
                  <c:v>AS1</c:v>
                </c:pt>
                <c:pt idx="2">
                  <c:v>AS2</c:v>
                </c:pt>
                <c:pt idx="3">
                  <c:v>AS3</c:v>
                </c:pt>
                <c:pt idx="4">
                  <c:v>AS4</c:v>
                </c:pt>
              </c:strCache>
            </c:strRef>
          </c:cat>
          <c:val>
            <c:numRef>
              <c:f>Foglio3!$D$6:$D$10</c:f>
              <c:numCache>
                <c:formatCode>#,##0.00\ "€"</c:formatCode>
                <c:ptCount val="5"/>
                <c:pt idx="0">
                  <c:v>146.75</c:v>
                </c:pt>
                <c:pt idx="1">
                  <c:v>162.25</c:v>
                </c:pt>
                <c:pt idx="2">
                  <c:v>151.37</c:v>
                </c:pt>
                <c:pt idx="3">
                  <c:v>157.57</c:v>
                </c:pt>
                <c:pt idx="4">
                  <c:v>149.93</c:v>
                </c:pt>
              </c:numCache>
            </c:numRef>
          </c:val>
          <c:extLst>
            <c:ext xmlns:c16="http://schemas.microsoft.com/office/drawing/2014/chart" uri="{C3380CC4-5D6E-409C-BE32-E72D297353CC}">
              <c16:uniqueId val="{00000001-E3E5-2544-90FF-91E653684972}"/>
            </c:ext>
          </c:extLst>
        </c:ser>
        <c:dLbls>
          <c:showLegendKey val="0"/>
          <c:showVal val="0"/>
          <c:showCatName val="0"/>
          <c:showSerName val="0"/>
          <c:showPercent val="0"/>
          <c:showBubbleSize val="0"/>
        </c:dLbls>
        <c:gapWidth val="100"/>
        <c:overlap val="-24"/>
        <c:axId val="647733424"/>
        <c:axId val="643278016"/>
      </c:barChart>
      <c:catAx>
        <c:axId val="647733424"/>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it-IT"/>
          </a:p>
        </c:txPr>
        <c:crossAx val="643278016"/>
        <c:crosses val="autoZero"/>
        <c:auto val="1"/>
        <c:lblAlgn val="ctr"/>
        <c:lblOffset val="100"/>
        <c:noMultiLvlLbl val="0"/>
      </c:catAx>
      <c:valAx>
        <c:axId val="643278016"/>
        <c:scaling>
          <c:orientation val="minMax"/>
        </c:scaling>
        <c:delete val="0"/>
        <c:axPos val="l"/>
        <c:majorGridlines>
          <c:spPr>
            <a:ln w="9525" cap="flat" cmpd="sng" algn="ctr">
              <a:solidFill>
                <a:schemeClr val="tx2">
                  <a:lumMod val="15000"/>
                  <a:lumOff val="85000"/>
                </a:schemeClr>
              </a:solidFill>
              <a:round/>
            </a:ln>
            <a:effectLst/>
          </c:spPr>
        </c:majorGridlines>
        <c:numFmt formatCode="#,##0.00\ &quot;€&quot;"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it-IT"/>
          </a:p>
        </c:txPr>
        <c:crossAx val="64773342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it-IT"/>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9.775868253721889E-3"/>
          <c:y val="0.11374371867227251"/>
          <c:w val="0.9902241317462781"/>
          <c:h val="0.78960708559019244"/>
        </c:manualLayout>
      </c:layout>
      <c:pie3DChart>
        <c:varyColors val="1"/>
        <c:ser>
          <c:idx val="0"/>
          <c:order val="0"/>
          <c:dPt>
            <c:idx val="0"/>
            <c:bubble3D val="0"/>
            <c:spPr>
              <a:solidFill>
                <a:schemeClr val="accent1"/>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0-9723-3443-8837-2FD782DD7321}"/>
              </c:ext>
            </c:extLst>
          </c:dPt>
          <c:dPt>
            <c:idx val="1"/>
            <c:bubble3D val="0"/>
            <c:spPr>
              <a:solidFill>
                <a:srgbClr val="00B050"/>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1-9723-3443-8837-2FD782DD7321}"/>
              </c:ext>
            </c:extLst>
          </c:dPt>
          <c:dLbls>
            <c:dLbl>
              <c:idx val="0"/>
              <c:layout>
                <c:manualLayout>
                  <c:x val="3.4838198618246566E-2"/>
                  <c:y val="0"/>
                </c:manualLayout>
              </c:layout>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it-IT"/>
                </a:p>
              </c:txPr>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723-3443-8837-2FD782DD7321}"/>
                </c:ext>
              </c:extLst>
            </c:dLbl>
            <c:dLbl>
              <c:idx val="1"/>
              <c:layout>
                <c:manualLayout>
                  <c:x val="-4.2877782914765003E-2"/>
                  <c:y val="-0.11608282489970065"/>
                </c:manualLayout>
              </c:layout>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rgbClr val="0432FF"/>
                      </a:solidFill>
                      <a:latin typeface="+mn-lt"/>
                      <a:ea typeface="+mn-ea"/>
                      <a:cs typeface="+mn-cs"/>
                    </a:defRPr>
                  </a:pPr>
                  <a:endParaRPr lang="it-IT"/>
                </a:p>
              </c:txPr>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723-3443-8837-2FD782DD7321}"/>
                </c:ext>
              </c:extLst>
            </c:dLbl>
            <c:spPr>
              <a:noFill/>
              <a:ln>
                <a:noFill/>
              </a:ln>
              <a:effectLst/>
            </c:spPr>
            <c:dLblPos val="outEnd"/>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oglio1!$B$6:$B$7</c:f>
              <c:strCache>
                <c:ptCount val="2"/>
                <c:pt idx="0">
                  <c:v>insucc.</c:v>
                </c:pt>
                <c:pt idx="1">
                  <c:v>succ.</c:v>
                </c:pt>
              </c:strCache>
            </c:strRef>
          </c:cat>
          <c:val>
            <c:numRef>
              <c:f>Foglio1!$C$6:$C$7</c:f>
              <c:numCache>
                <c:formatCode>0%</c:formatCode>
                <c:ptCount val="2"/>
                <c:pt idx="0">
                  <c:v>0.2</c:v>
                </c:pt>
                <c:pt idx="1">
                  <c:v>0.8</c:v>
                </c:pt>
              </c:numCache>
            </c:numRef>
          </c:val>
          <c:extLst>
            <c:ext xmlns:c16="http://schemas.microsoft.com/office/drawing/2014/chart" uri="{C3380CC4-5D6E-409C-BE32-E72D297353CC}">
              <c16:uniqueId val="{00000002-9723-3443-8837-2FD782DD7321}"/>
            </c:ext>
          </c:extLst>
        </c:ser>
        <c:dLbls>
          <c:dLblPos val="outEnd"/>
          <c:showLegendKey val="0"/>
          <c:showVal val="0"/>
          <c:showCatName val="1"/>
          <c:showSerName val="0"/>
          <c:showPercent val="0"/>
          <c:showBubbleSize val="0"/>
          <c:showLeaderLines val="1"/>
        </c:dLbls>
      </c:pie3DChart>
      <c:spPr>
        <a:noFill/>
        <a:ln>
          <a:noFill/>
        </a:ln>
        <a:effectLst/>
      </c:spPr>
    </c:plotArea>
    <c:plotVisOnly val="1"/>
    <c:dispBlanksAs val="zero"/>
    <c:showDLblsOverMax val="0"/>
  </c:chart>
  <c:spPr>
    <a:noFill/>
    <a:ln>
      <a:noFill/>
    </a:ln>
    <a:effectLst/>
  </c:spPr>
  <c:txPr>
    <a:bodyPr/>
    <a:lstStyle/>
    <a:p>
      <a:pPr>
        <a:defRPr/>
      </a:pPr>
      <a:endParaRPr lang="it-IT"/>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it-IT" sz="1800" b="0" i="0" baseline="0" dirty="0">
                <a:effectLst/>
              </a:rPr>
              <a:t>Spesa paziente/anno nel 2014</a:t>
            </a:r>
            <a:endParaRPr lang="it-IT" dirty="0">
              <a:effectLst/>
            </a:endParaRPr>
          </a:p>
        </c:rich>
      </c:tx>
      <c:layout>
        <c:manualLayout>
          <c:xMode val="edge"/>
          <c:yMode val="edge"/>
          <c:x val="0.32943654285616836"/>
          <c:y val="1.2851316541486073E-2"/>
        </c:manualLayout>
      </c:layout>
      <c:overlay val="0"/>
    </c:title>
    <c:autoTitleDeleted val="0"/>
    <c:plotArea>
      <c:layout>
        <c:manualLayout>
          <c:xMode val="edge"/>
          <c:yMode val="edge"/>
          <c:x val="0"/>
          <c:y val="0"/>
          <c:w val="0.92531804097009751"/>
          <c:h val="0.86547850228046441"/>
        </c:manualLayout>
      </c:layout>
      <c:barChart>
        <c:barDir val="col"/>
        <c:grouping val="clustered"/>
        <c:varyColors val="0"/>
        <c:ser>
          <c:idx val="0"/>
          <c:order val="0"/>
          <c:tx>
            <c:v>asma</c:v>
          </c:tx>
          <c:spPr>
            <a:solidFill>
              <a:srgbClr val="ACC1E8"/>
            </a:solidFill>
            <a:ln>
              <a:noFill/>
            </a:ln>
          </c:spPr>
          <c:invertIfNegative val="0"/>
          <c:dPt>
            <c:idx val="0"/>
            <c:invertIfNegative val="0"/>
            <c:bubble3D val="0"/>
            <c:extLst>
              <c:ext xmlns:c16="http://schemas.microsoft.com/office/drawing/2014/chart" uri="{C3380CC4-5D6E-409C-BE32-E72D297353CC}">
                <c16:uniqueId val="{00000000-C613-5B43-BDF1-DFA43F5443B4}"/>
              </c:ext>
            </c:extLst>
          </c:dPt>
          <c:dPt>
            <c:idx val="2"/>
            <c:invertIfNegative val="0"/>
            <c:bubble3D val="0"/>
            <c:extLst>
              <c:ext xmlns:c16="http://schemas.microsoft.com/office/drawing/2014/chart" uri="{C3380CC4-5D6E-409C-BE32-E72D297353CC}">
                <c16:uniqueId val="{00000001-C613-5B43-BDF1-DFA43F5443B4}"/>
              </c:ext>
            </c:extLst>
          </c:dPt>
          <c:dPt>
            <c:idx val="3"/>
            <c:invertIfNegative val="0"/>
            <c:bubble3D val="0"/>
            <c:extLst>
              <c:ext xmlns:c16="http://schemas.microsoft.com/office/drawing/2014/chart" uri="{C3380CC4-5D6E-409C-BE32-E72D297353CC}">
                <c16:uniqueId val="{00000002-C613-5B43-BDF1-DFA43F5443B4}"/>
              </c:ext>
            </c:extLst>
          </c:dPt>
          <c:dPt>
            <c:idx val="4"/>
            <c:invertIfNegative val="0"/>
            <c:bubble3D val="0"/>
            <c:extLst>
              <c:ext xmlns:c16="http://schemas.microsoft.com/office/drawing/2014/chart" uri="{C3380CC4-5D6E-409C-BE32-E72D297353CC}">
                <c16:uniqueId val="{00000003-C613-5B43-BDF1-DFA43F5443B4}"/>
              </c:ext>
            </c:extLst>
          </c:dPt>
          <c:dLbls>
            <c:dLbl>
              <c:idx val="0"/>
              <c:layout>
                <c:manualLayout>
                  <c:x val="-3.6675081969670398E-3"/>
                  <c:y val="-6.8116577648819066E-3"/>
                </c:manualLayout>
              </c:layout>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C613-5B43-BDF1-DFA43F5443B4}"/>
                </c:ext>
              </c:extLst>
            </c:dLbl>
            <c:dLbl>
              <c:idx val="2"/>
              <c:layout>
                <c:manualLayout>
                  <c:x val="6.6654756647919755E-3"/>
                  <c:y val="-2.9427122250383797E-2"/>
                </c:manualLayout>
              </c:layout>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C613-5B43-BDF1-DFA43F5443B4}"/>
                </c:ext>
              </c:extLst>
            </c:dLbl>
            <c:dLbl>
              <c:idx val="3"/>
              <c:layout>
                <c:manualLayout>
                  <c:x val="1.0584924567501597E-2"/>
                  <c:y val="-2.7166133811863058E-2"/>
                </c:manualLayout>
              </c:layout>
              <c:spPr>
                <a:noFill/>
                <a:ln>
                  <a:noFill/>
                </a:ln>
                <a:effectLst/>
              </c:spPr>
              <c:txPr>
                <a:bodyPr lIns="0" tIns="0" rIns="0" bIns="0"/>
                <a:lstStyle/>
                <a:p>
                  <a:pPr marL="0" marR="0" indent="0" algn="ctr" defTabSz="914400" fontAlgn="auto" hangingPunct="1">
                    <a:lnSpc>
                      <a:spcPct val="100000"/>
                    </a:lnSpc>
                    <a:spcBef>
                      <a:spcPts val="0"/>
                    </a:spcBef>
                    <a:spcAft>
                      <a:spcPts val="0"/>
                    </a:spcAft>
                    <a:tabLst/>
                    <a:defRPr sz="1400" b="0" i="0" u="none" strike="noStrike" kern="1200" baseline="0">
                      <a:solidFill>
                        <a:srgbClr val="000000"/>
                      </a:solidFill>
                      <a:latin typeface="Calibri" pitchFamily="34"/>
                      <a:ea typeface="Lucida Sans Unicode"/>
                      <a:cs typeface="Lucida Sans Unicode"/>
                    </a:defRPr>
                  </a:pPr>
                  <a:endParaRPr lang="it-IT"/>
                </a:p>
              </c:txPr>
              <c:showLegendKey val="0"/>
              <c:showVal val="1"/>
              <c:showCatName val="0"/>
              <c:showSerName val="0"/>
              <c:showPercent val="0"/>
              <c:showBubbleSize val="0"/>
              <c:separator>; </c:separator>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613-5B43-BDF1-DFA43F5443B4}"/>
                </c:ext>
              </c:extLst>
            </c:dLbl>
            <c:dLbl>
              <c:idx val="4"/>
              <c:layout>
                <c:manualLayout>
                  <c:x val="-2.2612889652644519E-3"/>
                  <c:y val="-4.7510727238988526E-2"/>
                </c:manualLayout>
              </c:layout>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3-C613-5B43-BDF1-DFA43F5443B4}"/>
                </c:ext>
              </c:extLst>
            </c:dLbl>
            <c:spPr>
              <a:solidFill>
                <a:srgbClr val="FFFFFF"/>
              </a:solidFill>
              <a:ln>
                <a:noFill/>
              </a:ln>
              <a:effectLst/>
            </c:spPr>
            <c:txPr>
              <a:bodyPr lIns="0" tIns="0" rIns="0" bIns="0"/>
              <a:lstStyle/>
              <a:p>
                <a:pPr marL="0" marR="0" indent="0" algn="ctr" defTabSz="914400" fontAlgn="auto" hangingPunct="1">
                  <a:lnSpc>
                    <a:spcPct val="100000"/>
                  </a:lnSpc>
                  <a:spcBef>
                    <a:spcPts val="0"/>
                  </a:spcBef>
                  <a:spcAft>
                    <a:spcPts val="0"/>
                  </a:spcAft>
                  <a:tabLst/>
                  <a:defRPr sz="1400" b="0" i="0" u="none" strike="noStrike" kern="1200" baseline="0">
                    <a:solidFill>
                      <a:srgbClr val="000000"/>
                    </a:solidFill>
                    <a:latin typeface="Calibri" pitchFamily="34"/>
                    <a:ea typeface="Lucida Sans Unicode"/>
                    <a:cs typeface="Lucida Sans Unicode"/>
                  </a:defRPr>
                </a:pPr>
                <a:endParaRPr lang="it-IT"/>
              </a:p>
            </c:txPr>
            <c:showLegendKey val="0"/>
            <c:showVal val="1"/>
            <c:showCatName val="0"/>
            <c:showSerName val="0"/>
            <c:showPercent val="0"/>
            <c:showBubbleSize val="0"/>
            <c:separator>; </c:separator>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Lit>
              <c:ptCount val="5"/>
              <c:pt idx="0">
                <c:v>farmaceutica</c:v>
              </c:pt>
              <c:pt idx="1">
                <c:v>ospedalizzazioni</c:v>
              </c:pt>
              <c:pt idx="2">
                <c:v>accessi al pronto soccorso</c:v>
              </c:pt>
              <c:pt idx="3">
                <c:v>visite specialistiche</c:v>
              </c:pt>
              <c:pt idx="4">
                <c:v>tot</c:v>
              </c:pt>
            </c:strLit>
          </c:cat>
          <c:val>
            <c:numLit>
              <c:formatCode>General</c:formatCode>
              <c:ptCount val="5"/>
              <c:pt idx="0">
                <c:v>420</c:v>
              </c:pt>
              <c:pt idx="1">
                <c:v>85</c:v>
              </c:pt>
              <c:pt idx="2">
                <c:v>12</c:v>
              </c:pt>
              <c:pt idx="3">
                <c:v>19</c:v>
              </c:pt>
              <c:pt idx="4">
                <c:v>536</c:v>
              </c:pt>
            </c:numLit>
          </c:val>
          <c:extLst>
            <c:ext xmlns:c16="http://schemas.microsoft.com/office/drawing/2014/chart" uri="{C3380CC4-5D6E-409C-BE32-E72D297353CC}">
              <c16:uniqueId val="{00000004-9649-5B4B-90C0-19AAB52372E2}"/>
            </c:ext>
          </c:extLst>
        </c:ser>
        <c:ser>
          <c:idx val="1"/>
          <c:order val="1"/>
          <c:tx>
            <c:v>BPCO</c:v>
          </c:tx>
          <c:spPr>
            <a:solidFill>
              <a:srgbClr val="C00000"/>
            </a:solidFill>
            <a:ln>
              <a:noFill/>
            </a:ln>
          </c:spPr>
          <c:invertIfNegative val="0"/>
          <c:dPt>
            <c:idx val="2"/>
            <c:invertIfNegative val="0"/>
            <c:bubble3D val="0"/>
            <c:extLst>
              <c:ext xmlns:c16="http://schemas.microsoft.com/office/drawing/2014/chart" uri="{C3380CC4-5D6E-409C-BE32-E72D297353CC}">
                <c16:uniqueId val="{00000004-C613-5B43-BDF1-DFA43F5443B4}"/>
              </c:ext>
            </c:extLst>
          </c:dPt>
          <c:dLbls>
            <c:dLbl>
              <c:idx val="2"/>
              <c:layout>
                <c:manualLayout>
                  <c:x val="3.0181545553767508E-2"/>
                  <c:y val="6.7518300050533053E-3"/>
                </c:manualLayout>
              </c:layout>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4-C613-5B43-BDF1-DFA43F5443B4}"/>
                </c:ext>
              </c:extLst>
            </c:dLbl>
            <c:spPr>
              <a:noFill/>
              <a:ln>
                <a:noFill/>
              </a:ln>
              <a:effectLst/>
            </c:spPr>
            <c:txPr>
              <a:bodyPr lIns="0" tIns="0" rIns="0" bIns="0"/>
              <a:lstStyle/>
              <a:p>
                <a:pPr marL="0" marR="0" indent="0" algn="ctr" defTabSz="914400" fontAlgn="auto" hangingPunct="1">
                  <a:lnSpc>
                    <a:spcPct val="100000"/>
                  </a:lnSpc>
                  <a:spcBef>
                    <a:spcPts val="0"/>
                  </a:spcBef>
                  <a:spcAft>
                    <a:spcPts val="0"/>
                  </a:spcAft>
                  <a:tabLst/>
                  <a:defRPr sz="1400" b="0" i="0" u="none" strike="noStrike" kern="1200" baseline="0">
                    <a:solidFill>
                      <a:srgbClr val="000000"/>
                    </a:solidFill>
                    <a:latin typeface="Calibri" pitchFamily="34"/>
                    <a:ea typeface="Lucida Sans Unicode"/>
                    <a:cs typeface="Lucida Sans Unicode"/>
                  </a:defRPr>
                </a:pPr>
                <a:endParaRPr lang="it-IT"/>
              </a:p>
            </c:txPr>
            <c:showLegendKey val="0"/>
            <c:showVal val="1"/>
            <c:showCatName val="0"/>
            <c:showSerName val="0"/>
            <c:showPercent val="0"/>
            <c:showBubbleSize val="0"/>
            <c:separator>; </c:separator>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Lit>
              <c:ptCount val="5"/>
              <c:pt idx="0">
                <c:v>farmaceutica</c:v>
              </c:pt>
              <c:pt idx="1">
                <c:v>ospedalizzazioni</c:v>
              </c:pt>
              <c:pt idx="2">
                <c:v>accessi al pronto soccorso</c:v>
              </c:pt>
              <c:pt idx="3">
                <c:v>visite specialistiche</c:v>
              </c:pt>
              <c:pt idx="4">
                <c:v>tot</c:v>
              </c:pt>
            </c:strLit>
          </c:cat>
          <c:val>
            <c:numLit>
              <c:formatCode>General</c:formatCode>
              <c:ptCount val="5"/>
              <c:pt idx="0">
                <c:v>974</c:v>
              </c:pt>
              <c:pt idx="1">
                <c:v>1169</c:v>
              </c:pt>
              <c:pt idx="2">
                <c:v>100</c:v>
              </c:pt>
              <c:pt idx="3">
                <c:v>26</c:v>
              </c:pt>
              <c:pt idx="4">
                <c:v>2269</c:v>
              </c:pt>
            </c:numLit>
          </c:val>
          <c:extLst>
            <c:ext xmlns:c16="http://schemas.microsoft.com/office/drawing/2014/chart" uri="{C3380CC4-5D6E-409C-BE32-E72D297353CC}">
              <c16:uniqueId val="{00000006-9649-5B4B-90C0-19AAB52372E2}"/>
            </c:ext>
          </c:extLst>
        </c:ser>
        <c:dLbls>
          <c:showLegendKey val="0"/>
          <c:showVal val="0"/>
          <c:showCatName val="0"/>
          <c:showSerName val="0"/>
          <c:showPercent val="0"/>
          <c:showBubbleSize val="0"/>
        </c:dLbls>
        <c:gapWidth val="150"/>
        <c:axId val="6345200"/>
        <c:axId val="6342272"/>
      </c:barChart>
      <c:valAx>
        <c:axId val="6342272"/>
        <c:scaling>
          <c:orientation val="minMax"/>
        </c:scaling>
        <c:delete val="0"/>
        <c:axPos val="l"/>
        <c:majorGridlines>
          <c:spPr>
            <a:ln>
              <a:noFill/>
            </a:ln>
          </c:spPr>
        </c:majorGridlines>
        <c:numFmt formatCode="[$€]&quot; &quot;#,##0" sourceLinked="0"/>
        <c:majorTickMark val="out"/>
        <c:minorTickMark val="none"/>
        <c:tickLblPos val="nextTo"/>
        <c:spPr>
          <a:noFill/>
          <a:ln w="9528" cap="flat">
            <a:solidFill>
              <a:srgbClr val="868686"/>
            </a:solidFill>
            <a:prstDash val="solid"/>
            <a:round/>
          </a:ln>
        </c:spPr>
        <c:txPr>
          <a:bodyPr lIns="0" tIns="0" rIns="0" bIns="0"/>
          <a:lstStyle/>
          <a:p>
            <a:pPr marL="0" marR="0" indent="0" defTabSz="914400" fontAlgn="auto" hangingPunct="1">
              <a:lnSpc>
                <a:spcPct val="100000"/>
              </a:lnSpc>
              <a:spcBef>
                <a:spcPts val="0"/>
              </a:spcBef>
              <a:spcAft>
                <a:spcPts val="0"/>
              </a:spcAft>
              <a:tabLst/>
              <a:defRPr sz="1400" b="0" i="0" u="none" strike="noStrike" kern="1200" baseline="0">
                <a:solidFill>
                  <a:srgbClr val="000000"/>
                </a:solidFill>
                <a:latin typeface="Calibri" pitchFamily="34"/>
                <a:ea typeface="Lucida Sans Unicode"/>
                <a:cs typeface="Lucida Sans Unicode"/>
              </a:defRPr>
            </a:pPr>
            <a:endParaRPr lang="it-IT"/>
          </a:p>
        </c:txPr>
        <c:crossAx val="6345200"/>
        <c:crosses val="autoZero"/>
        <c:crossBetween val="between"/>
      </c:valAx>
      <c:catAx>
        <c:axId val="6345200"/>
        <c:scaling>
          <c:orientation val="minMax"/>
        </c:scaling>
        <c:delete val="0"/>
        <c:axPos val="b"/>
        <c:numFmt formatCode="General" sourceLinked="0"/>
        <c:majorTickMark val="out"/>
        <c:minorTickMark val="none"/>
        <c:tickLblPos val="nextTo"/>
        <c:spPr>
          <a:noFill/>
          <a:ln w="9528" cap="flat">
            <a:solidFill>
              <a:srgbClr val="868686"/>
            </a:solidFill>
            <a:prstDash val="solid"/>
            <a:round/>
          </a:ln>
        </c:spPr>
        <c:txPr>
          <a:bodyPr lIns="0" tIns="0" rIns="0" bIns="0"/>
          <a:lstStyle/>
          <a:p>
            <a:pPr marL="0" marR="0" indent="0" defTabSz="914400" fontAlgn="auto" hangingPunct="1">
              <a:lnSpc>
                <a:spcPct val="100000"/>
              </a:lnSpc>
              <a:spcBef>
                <a:spcPts val="0"/>
              </a:spcBef>
              <a:spcAft>
                <a:spcPts val="0"/>
              </a:spcAft>
              <a:tabLst/>
              <a:defRPr sz="1400" b="0" i="0" u="none" strike="noStrike" kern="1200" baseline="0">
                <a:solidFill>
                  <a:srgbClr val="000000"/>
                </a:solidFill>
                <a:latin typeface="Calibri" pitchFamily="34"/>
                <a:ea typeface="Lucida Sans Unicode"/>
                <a:cs typeface="Lucida Sans Unicode"/>
              </a:defRPr>
            </a:pPr>
            <a:endParaRPr lang="it-IT"/>
          </a:p>
        </c:txPr>
        <c:crossAx val="6342272"/>
        <c:crosses val="autoZero"/>
        <c:auto val="1"/>
        <c:lblAlgn val="ctr"/>
        <c:lblOffset val="100"/>
        <c:noMultiLvlLbl val="0"/>
      </c:catAx>
      <c:spPr>
        <a:noFill/>
        <a:ln>
          <a:noFill/>
        </a:ln>
      </c:spPr>
    </c:plotArea>
    <c:legend>
      <c:legendPos val="r"/>
      <c:layout>
        <c:manualLayout>
          <c:xMode val="edge"/>
          <c:yMode val="edge"/>
          <c:x val="0.29269695666228035"/>
          <c:y val="0.11652098887248716"/>
        </c:manualLayout>
      </c:layout>
      <c:overlay val="0"/>
      <c:spPr>
        <a:noFill/>
        <a:ln>
          <a:noFill/>
        </a:ln>
      </c:spPr>
      <c:txPr>
        <a:bodyPr lIns="0" tIns="0" rIns="0" bIns="0"/>
        <a:lstStyle/>
        <a:p>
          <a:pPr marL="0" marR="0" indent="0" defTabSz="914400" fontAlgn="auto" hangingPunct="1">
            <a:lnSpc>
              <a:spcPct val="100000"/>
            </a:lnSpc>
            <a:spcBef>
              <a:spcPts val="0"/>
            </a:spcBef>
            <a:spcAft>
              <a:spcPts val="0"/>
            </a:spcAft>
            <a:tabLst/>
            <a:defRPr sz="1800" b="0" i="0" u="none" strike="noStrike" kern="1200" baseline="0">
              <a:solidFill>
                <a:srgbClr val="000000"/>
              </a:solidFill>
              <a:latin typeface="Arial"/>
              <a:ea typeface="Lucida Sans Unicode"/>
              <a:cs typeface="Lucida Sans Unicode"/>
            </a:defRPr>
          </a:pPr>
          <a:endParaRPr lang="it-IT"/>
        </a:p>
      </c:txPr>
    </c:legend>
    <c:plotVisOnly val="1"/>
    <c:dispBlanksAs val="gap"/>
    <c:showDLblsOverMax val="0"/>
  </c:chart>
  <c:spPr>
    <a:solidFill>
      <a:srgbClr val="FFFFFF"/>
    </a:solidFill>
    <a:ln>
      <a:noFill/>
    </a:ln>
  </c:spPr>
  <c:txPr>
    <a:bodyPr lIns="0" tIns="0" rIns="0" bIns="0"/>
    <a:lstStyle/>
    <a:p>
      <a:pPr marL="0" marR="0" indent="0" defTabSz="914400" fontAlgn="auto" hangingPunct="1">
        <a:lnSpc>
          <a:spcPct val="100000"/>
        </a:lnSpc>
        <a:spcBef>
          <a:spcPts val="0"/>
        </a:spcBef>
        <a:spcAft>
          <a:spcPts val="0"/>
        </a:spcAft>
        <a:tabLst/>
        <a:defRPr lang="it-IT" sz="1000" b="0" i="0" u="none" strike="noStrike" kern="1200" baseline="0">
          <a:solidFill>
            <a:srgbClr val="000000"/>
          </a:solidFill>
          <a:latin typeface="Arial"/>
          <a:ea typeface="Lucida Sans Unicode"/>
          <a:cs typeface="Lucida Sans Unicode"/>
        </a:defRPr>
      </a:pPr>
      <a:endParaRPr lang="it-IT"/>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4"/>
      <c:rotY val="19"/>
      <c:rAngAx val="1"/>
    </c:view3D>
    <c:floor>
      <c:thickness val="0"/>
      <c:spPr>
        <a:noFill/>
        <a:ln w="9528" cap="rnd">
          <a:solidFill>
            <a:srgbClr val="FFFFFF"/>
          </a:solidFill>
          <a:prstDash val="solid"/>
          <a:round/>
        </a:ln>
      </c:spPr>
    </c:floor>
    <c:sideWall>
      <c:thickness val="0"/>
      <c:spPr>
        <a:noFill/>
        <a:ln>
          <a:noFill/>
        </a:ln>
      </c:spPr>
    </c:sideWall>
    <c:backWall>
      <c:thickness val="0"/>
      <c:spPr>
        <a:noFill/>
        <a:ln>
          <a:noFill/>
        </a:ln>
      </c:spPr>
    </c:backWall>
    <c:plotArea>
      <c:layout/>
      <c:bar3DChart>
        <c:barDir val="col"/>
        <c:grouping val="stacked"/>
        <c:varyColors val="0"/>
        <c:ser>
          <c:idx val="0"/>
          <c:order val="0"/>
          <c:tx>
            <c:v>Serie 1</c:v>
          </c:tx>
          <c:spPr>
            <a:solidFill>
              <a:srgbClr val="0096FF"/>
            </a:solidFill>
            <a:ln w="9528">
              <a:solidFill>
                <a:srgbClr val="FFFFFF"/>
              </a:solidFill>
              <a:prstDash val="solid"/>
            </a:ln>
          </c:spPr>
          <c:invertIfNegative val="0"/>
          <c:dLbls>
            <c:spPr>
              <a:noFill/>
              <a:ln>
                <a:noFill/>
              </a:ln>
              <a:effectLst/>
            </c:spPr>
            <c:txPr>
              <a:bodyPr lIns="0" tIns="0" rIns="0" bIns="0"/>
              <a:lstStyle/>
              <a:p>
                <a:pPr marL="0" marR="0" indent="0" algn="ctr" defTabSz="914400" fontAlgn="auto" hangingPunct="1">
                  <a:lnSpc>
                    <a:spcPct val="100000"/>
                  </a:lnSpc>
                  <a:spcBef>
                    <a:spcPts val="0"/>
                  </a:spcBef>
                  <a:spcAft>
                    <a:spcPts val="0"/>
                  </a:spcAft>
                  <a:tabLst/>
                  <a:defRPr sz="1000" b="1" i="0" u="none" strike="noStrike" kern="1200" baseline="0">
                    <a:solidFill>
                      <a:srgbClr val="030809"/>
                    </a:solidFill>
                    <a:latin typeface="Century Gothic"/>
                  </a:defRPr>
                </a:pPr>
                <a:endParaRPr lang="it-IT"/>
              </a:p>
            </c:txPr>
            <c:showLegendKey val="0"/>
            <c:showVal val="1"/>
            <c:showCatName val="0"/>
            <c:showSerName val="0"/>
            <c:showPercent val="0"/>
            <c:showBubbleSize val="0"/>
            <c:separator>; </c:separator>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Lit>
              <c:ptCount val="6"/>
              <c:pt idx="0">
                <c:v>Antidiabetici</c:v>
              </c:pt>
              <c:pt idx="1">
                <c:v>Antipertensivi</c:v>
              </c:pt>
              <c:pt idx="2">
                <c:v>Trattamento osteoporosi</c:v>
              </c:pt>
              <c:pt idx="3">
                <c:v>Statine</c:v>
              </c:pt>
              <c:pt idx="4">
                <c:v>Antidepressivi</c:v>
              </c:pt>
              <c:pt idx="5">
                <c:v>trattamento sindromi ostruttive delle vie respiratorie</c:v>
              </c:pt>
            </c:strLit>
          </c:cat>
          <c:val>
            <c:numLit>
              <c:formatCode>General</c:formatCode>
              <c:ptCount val="6"/>
              <c:pt idx="0">
                <c:v>0.62000000000000044</c:v>
              </c:pt>
              <c:pt idx="1">
                <c:v>0.55000000000000004</c:v>
              </c:pt>
              <c:pt idx="2">
                <c:v>0.46</c:v>
              </c:pt>
              <c:pt idx="3">
                <c:v>0.43000000000000022</c:v>
              </c:pt>
              <c:pt idx="4">
                <c:v>0.38000000000000023</c:v>
              </c:pt>
              <c:pt idx="5">
                <c:v>0.14000000000000001</c:v>
              </c:pt>
            </c:numLit>
          </c:val>
          <c:extLst>
            <c:ext xmlns:c16="http://schemas.microsoft.com/office/drawing/2014/chart" uri="{C3380CC4-5D6E-409C-BE32-E72D297353CC}">
              <c16:uniqueId val="{00000000-A3DB-F04B-A87B-6198619170F7}"/>
            </c:ext>
          </c:extLst>
        </c:ser>
        <c:ser>
          <c:idx val="1"/>
          <c:order val="1"/>
          <c:tx>
            <c:v>Serie 2</c:v>
          </c:tx>
          <c:spPr>
            <a:solidFill>
              <a:schemeClr val="accent1"/>
            </a:solidFill>
            <a:ln w="9528">
              <a:solidFill>
                <a:srgbClr val="FFFFFF"/>
              </a:solidFill>
              <a:prstDash val="solid"/>
            </a:ln>
          </c:spPr>
          <c:invertIfNegative val="0"/>
          <c:dLbls>
            <c:spPr>
              <a:noFill/>
              <a:ln>
                <a:noFill/>
              </a:ln>
              <a:effectLst/>
            </c:spPr>
            <c:txPr>
              <a:bodyPr lIns="0" tIns="0" rIns="0" bIns="0"/>
              <a:lstStyle/>
              <a:p>
                <a:pPr marL="0" marR="0" indent="0" algn="ctr" defTabSz="914400" fontAlgn="auto" hangingPunct="1">
                  <a:lnSpc>
                    <a:spcPct val="100000"/>
                  </a:lnSpc>
                  <a:spcBef>
                    <a:spcPts val="0"/>
                  </a:spcBef>
                  <a:spcAft>
                    <a:spcPts val="0"/>
                  </a:spcAft>
                  <a:tabLst/>
                  <a:defRPr sz="1000" b="1" i="0" u="none" strike="noStrike" kern="1200" baseline="0">
                    <a:solidFill>
                      <a:srgbClr val="FFFFFF"/>
                    </a:solidFill>
                    <a:latin typeface="Century Gothic"/>
                  </a:defRPr>
                </a:pPr>
                <a:endParaRPr lang="it-IT"/>
              </a:p>
            </c:txPr>
            <c:showLegendKey val="0"/>
            <c:showVal val="1"/>
            <c:showCatName val="0"/>
            <c:showSerName val="0"/>
            <c:showPercent val="0"/>
            <c:showBubbleSize val="0"/>
            <c:separator>; </c:separator>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Lit>
              <c:ptCount val="6"/>
              <c:pt idx="0">
                <c:v>Antidiabetici</c:v>
              </c:pt>
              <c:pt idx="1">
                <c:v>Antipertensivi</c:v>
              </c:pt>
              <c:pt idx="2">
                <c:v>Trattamento osteoporosi</c:v>
              </c:pt>
              <c:pt idx="3">
                <c:v>Statine</c:v>
              </c:pt>
              <c:pt idx="4">
                <c:v>Antidepressivi</c:v>
              </c:pt>
              <c:pt idx="5">
                <c:v>trattamento sindromi ostruttive delle vie respiratorie</c:v>
              </c:pt>
            </c:strLit>
          </c:cat>
          <c:val>
            <c:numLit>
              <c:formatCode>General</c:formatCode>
              <c:ptCount val="6"/>
              <c:pt idx="0">
                <c:v>0.38000000000000023</c:v>
              </c:pt>
              <c:pt idx="1">
                <c:v>0.45</c:v>
              </c:pt>
              <c:pt idx="2">
                <c:v>0.54</c:v>
              </c:pt>
              <c:pt idx="3">
                <c:v>0.56999999999999995</c:v>
              </c:pt>
              <c:pt idx="4">
                <c:v>0.62000000000000044</c:v>
              </c:pt>
              <c:pt idx="5">
                <c:v>0.86000000000000043</c:v>
              </c:pt>
            </c:numLit>
          </c:val>
          <c:extLst>
            <c:ext xmlns:c16="http://schemas.microsoft.com/office/drawing/2014/chart" uri="{C3380CC4-5D6E-409C-BE32-E72D297353CC}">
              <c16:uniqueId val="{00000001-A3DB-F04B-A87B-6198619170F7}"/>
            </c:ext>
          </c:extLst>
        </c:ser>
        <c:dLbls>
          <c:showLegendKey val="0"/>
          <c:showVal val="0"/>
          <c:showCatName val="0"/>
          <c:showSerName val="0"/>
          <c:showPercent val="0"/>
          <c:showBubbleSize val="0"/>
        </c:dLbls>
        <c:gapWidth val="75"/>
        <c:shape val="box"/>
        <c:axId val="17409648"/>
        <c:axId val="17408000"/>
        <c:axId val="0"/>
      </c:bar3DChart>
      <c:valAx>
        <c:axId val="17408000"/>
        <c:scaling>
          <c:orientation val="minMax"/>
        </c:scaling>
        <c:delete val="0"/>
        <c:axPos val="l"/>
        <c:numFmt formatCode="0%" sourceLinked="0"/>
        <c:majorTickMark val="none"/>
        <c:minorTickMark val="none"/>
        <c:tickLblPos val="nextTo"/>
        <c:spPr>
          <a:noFill/>
          <a:ln w="9528" cap="rnd">
            <a:solidFill>
              <a:srgbClr val="FFFFFF"/>
            </a:solidFill>
            <a:prstDash val="solid"/>
            <a:round/>
          </a:ln>
        </c:spPr>
        <c:txPr>
          <a:bodyPr lIns="0" tIns="0" rIns="0" bIns="0"/>
          <a:lstStyle/>
          <a:p>
            <a:pPr marL="0" marR="0" indent="0" defTabSz="914400" fontAlgn="auto" hangingPunct="1">
              <a:lnSpc>
                <a:spcPct val="100000"/>
              </a:lnSpc>
              <a:spcBef>
                <a:spcPts val="0"/>
              </a:spcBef>
              <a:spcAft>
                <a:spcPts val="0"/>
              </a:spcAft>
              <a:tabLst/>
              <a:defRPr sz="1000" b="1" i="0" u="none" strike="noStrike" kern="1200" baseline="0">
                <a:solidFill>
                  <a:srgbClr val="081415"/>
                </a:solidFill>
                <a:latin typeface="Century Gothic"/>
              </a:defRPr>
            </a:pPr>
            <a:endParaRPr lang="it-IT"/>
          </a:p>
        </c:txPr>
        <c:crossAx val="17409648"/>
        <c:crosses val="autoZero"/>
        <c:crossBetween val="between"/>
      </c:valAx>
      <c:catAx>
        <c:axId val="17409648"/>
        <c:scaling>
          <c:orientation val="minMax"/>
        </c:scaling>
        <c:delete val="0"/>
        <c:axPos val="b"/>
        <c:numFmt formatCode="General" sourceLinked="0"/>
        <c:majorTickMark val="none"/>
        <c:minorTickMark val="none"/>
        <c:tickLblPos val="nextTo"/>
        <c:spPr>
          <a:noFill/>
          <a:ln w="9528" cap="rnd">
            <a:solidFill>
              <a:srgbClr val="FFFFFF"/>
            </a:solidFill>
            <a:prstDash val="solid"/>
            <a:round/>
          </a:ln>
        </c:spPr>
        <c:txPr>
          <a:bodyPr lIns="0" tIns="0" rIns="0" bIns="0"/>
          <a:lstStyle/>
          <a:p>
            <a:pPr marL="0" marR="0" indent="0" defTabSz="914400" fontAlgn="auto" hangingPunct="1">
              <a:lnSpc>
                <a:spcPct val="100000"/>
              </a:lnSpc>
              <a:spcBef>
                <a:spcPts val="0"/>
              </a:spcBef>
              <a:spcAft>
                <a:spcPts val="0"/>
              </a:spcAft>
              <a:tabLst/>
              <a:defRPr sz="800" b="1" i="0" u="none" strike="noStrike" kern="1200" baseline="0">
                <a:solidFill>
                  <a:srgbClr val="081415"/>
                </a:solidFill>
                <a:latin typeface="Century Gothic"/>
              </a:defRPr>
            </a:pPr>
            <a:endParaRPr lang="it-IT"/>
          </a:p>
        </c:txPr>
        <c:crossAx val="17408000"/>
        <c:crosses val="autoZero"/>
        <c:auto val="1"/>
        <c:lblAlgn val="ctr"/>
        <c:lblOffset val="100"/>
        <c:noMultiLvlLbl val="0"/>
      </c:catAx>
      <c:spPr>
        <a:noFill/>
        <a:ln>
          <a:noFill/>
        </a:ln>
      </c:spPr>
    </c:plotArea>
    <c:plotVisOnly val="1"/>
    <c:dispBlanksAs val="gap"/>
    <c:showDLblsOverMax val="0"/>
  </c:chart>
  <c:spPr>
    <a:noFill/>
    <a:ln>
      <a:noFill/>
    </a:ln>
  </c:spPr>
  <c:txPr>
    <a:bodyPr lIns="0" tIns="0" rIns="0" bIns="0"/>
    <a:lstStyle/>
    <a:p>
      <a:pPr marL="0" marR="0" indent="0" defTabSz="914400" fontAlgn="auto" hangingPunct="1">
        <a:lnSpc>
          <a:spcPct val="100000"/>
        </a:lnSpc>
        <a:spcBef>
          <a:spcPts val="0"/>
        </a:spcBef>
        <a:spcAft>
          <a:spcPts val="0"/>
        </a:spcAft>
        <a:tabLst/>
        <a:defRPr lang="it-IT" sz="1000" b="0" i="0" u="none" strike="noStrike" kern="1200" baseline="0">
          <a:solidFill>
            <a:srgbClr val="FFFFFF"/>
          </a:solidFill>
          <a:latin typeface="Century Gothic"/>
        </a:defRPr>
      </a:pPr>
      <a:endParaRPr lang="it-IT"/>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baseline="0">
                <a:solidFill>
                  <a:schemeClr val="tx2"/>
                </a:solidFill>
                <a:latin typeface="+mn-lt"/>
                <a:ea typeface="+mn-ea"/>
                <a:cs typeface="+mn-cs"/>
              </a:defRPr>
            </a:pPr>
            <a:r>
              <a:rPr lang="it-IT"/>
              <a:t>Consumo di antidiabetici per categoria terapeutica 2014-2019</a:t>
            </a:r>
          </a:p>
        </c:rich>
      </c:tx>
      <c:overlay val="0"/>
      <c:spPr>
        <a:noFill/>
        <a:ln>
          <a:noFill/>
        </a:ln>
        <a:effectLst/>
      </c:spPr>
      <c:txPr>
        <a:bodyPr rot="0" spcFirstLastPara="1" vertOverflow="ellipsis" vert="horz" wrap="square" anchor="ctr" anchorCtr="1"/>
        <a:lstStyle/>
        <a:p>
          <a:pPr>
            <a:defRPr sz="1600" b="1" i="0" u="none" strike="noStrike" kern="1200" baseline="0">
              <a:solidFill>
                <a:schemeClr val="tx2"/>
              </a:solidFill>
              <a:latin typeface="+mn-lt"/>
              <a:ea typeface="+mn-ea"/>
              <a:cs typeface="+mn-cs"/>
            </a:defRPr>
          </a:pPr>
          <a:endParaRPr lang="it-IT"/>
        </a:p>
      </c:tx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clustered"/>
        <c:varyColors val="0"/>
        <c:ser>
          <c:idx val="0"/>
          <c:order val="0"/>
          <c:tx>
            <c:strRef>
              <c:f>Foglio1!$B$1</c:f>
              <c:strCache>
                <c:ptCount val="1"/>
                <c:pt idx="0">
                  <c:v>Metformina</c:v>
                </c:pt>
              </c:strCache>
            </c:strRef>
          </c:tx>
          <c:spPr>
            <a:gradFill rotWithShape="1">
              <a:gsLst>
                <a:gs pos="0">
                  <a:schemeClr val="accent1">
                    <a:satMod val="103000"/>
                    <a:lumMod val="102000"/>
                    <a:tint val="94000"/>
                  </a:schemeClr>
                </a:gs>
                <a:gs pos="0">
                  <a:srgbClr val="00B050"/>
                </a:gs>
                <a:gs pos="100000">
                  <a:srgbClr val="00B050"/>
                </a:gs>
              </a:gsLst>
              <a:lin ang="5400000" scaled="0"/>
            </a:gradFill>
            <a:ln>
              <a:noFill/>
            </a:ln>
            <a:effectLst/>
            <a:scene3d>
              <a:camera prst="orthographicFront">
                <a:rot lat="0" lon="0" rev="0"/>
              </a:camera>
              <a:lightRig rig="threePt" dir="t"/>
            </a:scene3d>
            <a:sp3d>
              <a:bevelT w="25400" h="12700"/>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numRef>
              <c:f>Foglio1!$A$2:$A$7</c:f>
              <c:numCache>
                <c:formatCode>General</c:formatCode>
                <c:ptCount val="6"/>
                <c:pt idx="0">
                  <c:v>2014</c:v>
                </c:pt>
                <c:pt idx="1">
                  <c:v>2015</c:v>
                </c:pt>
                <c:pt idx="2">
                  <c:v>2016</c:v>
                </c:pt>
                <c:pt idx="3">
                  <c:v>2017</c:v>
                </c:pt>
                <c:pt idx="4">
                  <c:v>2018</c:v>
                </c:pt>
                <c:pt idx="5">
                  <c:v>2019</c:v>
                </c:pt>
              </c:numCache>
            </c:numRef>
          </c:cat>
          <c:val>
            <c:numRef>
              <c:f>Foglio1!$B$2:$B$7</c:f>
              <c:numCache>
                <c:formatCode>General</c:formatCode>
                <c:ptCount val="6"/>
                <c:pt idx="0">
                  <c:v>25.1</c:v>
                </c:pt>
                <c:pt idx="1">
                  <c:v>24.5</c:v>
                </c:pt>
                <c:pt idx="2">
                  <c:v>24.1</c:v>
                </c:pt>
                <c:pt idx="3">
                  <c:v>24.2</c:v>
                </c:pt>
                <c:pt idx="4">
                  <c:v>24.1</c:v>
                </c:pt>
                <c:pt idx="5">
                  <c:v>24</c:v>
                </c:pt>
              </c:numCache>
            </c:numRef>
          </c:val>
          <c:extLst>
            <c:ext xmlns:c16="http://schemas.microsoft.com/office/drawing/2014/chart" uri="{C3380CC4-5D6E-409C-BE32-E72D297353CC}">
              <c16:uniqueId val="{00000000-C46F-412D-B389-BC021260FDBC}"/>
            </c:ext>
          </c:extLst>
        </c:ser>
        <c:ser>
          <c:idx val="1"/>
          <c:order val="1"/>
          <c:tx>
            <c:strRef>
              <c:f>Foglio1!$C$1</c:f>
              <c:strCache>
                <c:ptCount val="1"/>
                <c:pt idx="0">
                  <c:v>Sulfaniluree</c:v>
                </c:pt>
              </c:strCache>
            </c:strRef>
          </c:tx>
          <c:spPr>
            <a:gradFill rotWithShape="1">
              <a:gsLst>
                <a:gs pos="0">
                  <a:srgbClr val="FFC000"/>
                </a:gs>
                <a:gs pos="100000">
                  <a:srgbClr val="FFC000"/>
                </a:gs>
                <a:gs pos="100000">
                  <a:schemeClr val="accent2">
                    <a:lumMod val="99000"/>
                    <a:satMod val="120000"/>
                    <a:shade val="78000"/>
                  </a:schemeClr>
                </a:gs>
              </a:gsLst>
              <a:lin ang="5400000" scaled="0"/>
            </a:gradFill>
            <a:ln>
              <a:noFill/>
            </a:ln>
            <a:effectLst/>
            <a:scene3d>
              <a:camera prst="orthographicFront">
                <a:rot lat="0" lon="0" rev="0"/>
              </a:camera>
              <a:lightRig rig="threePt" dir="t"/>
            </a:scene3d>
            <a:sp3d>
              <a:bevelT w="25400" h="12700"/>
            </a:sp3d>
          </c:spPr>
          <c:invertIfNegative val="0"/>
          <c:dLbls>
            <c:dLbl>
              <c:idx val="0"/>
              <c:layout>
                <c:manualLayout>
                  <c:x val="2.2991111989118091E-2"/>
                  <c:y val="2.772396103364532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33A-4A51-A862-5EE3E8AB7A0F}"/>
                </c:ext>
              </c:extLst>
            </c:dLbl>
            <c:dLbl>
              <c:idx val="1"/>
              <c:layout>
                <c:manualLayout>
                  <c:x val="2.5865114132994079E-2"/>
                  <c:y val="-5.5447922067290642E-3"/>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2"/>
                      </a:solidFill>
                      <a:latin typeface="+mn-lt"/>
                      <a:ea typeface="+mn-ea"/>
                      <a:cs typeface="+mn-cs"/>
                    </a:defRPr>
                  </a:pPr>
                  <a:endParaRPr lang="it-IT"/>
                </a:p>
              </c:txPr>
              <c:showLegendKey val="0"/>
              <c:showVal val="1"/>
              <c:showCatName val="0"/>
              <c:showSerName val="0"/>
              <c:showPercent val="0"/>
              <c:showBubbleSize val="0"/>
              <c:extLst>
                <c:ext xmlns:c15="http://schemas.microsoft.com/office/drawing/2012/chart" uri="{CE6537A1-D6FC-4f65-9D91-7224C49458BB}">
                  <c15:layout>
                    <c:manualLayout>
                      <c:w val="8.466476989992755E-2"/>
                      <c:h val="3.3351925123475318E-2"/>
                    </c:manualLayout>
                  </c15:layout>
                </c:ext>
                <c:ext xmlns:c16="http://schemas.microsoft.com/office/drawing/2014/chart" uri="{C3380CC4-5D6E-409C-BE32-E72D297353CC}">
                  <c16:uniqueId val="{00000001-333A-4A51-A862-5EE3E8AB7A0F}"/>
                </c:ext>
              </c:extLst>
            </c:dLbl>
            <c:dLbl>
              <c:idx val="2"/>
              <c:layout>
                <c:manualLayout>
                  <c:x val="3.7360670127553147E-2"/>
                  <c:y val="-1.016533494818652E-16"/>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2"/>
                      </a:solidFill>
                      <a:latin typeface="+mn-lt"/>
                      <a:ea typeface="+mn-ea"/>
                      <a:cs typeface="+mn-cs"/>
                    </a:defRPr>
                  </a:pPr>
                  <a:endParaRPr lang="it-IT"/>
                </a:p>
              </c:txPr>
              <c:showLegendKey val="0"/>
              <c:showVal val="1"/>
              <c:showCatName val="0"/>
              <c:showSerName val="0"/>
              <c:showPercent val="0"/>
              <c:showBubbleSize val="0"/>
              <c:extLst>
                <c:ext xmlns:c15="http://schemas.microsoft.com/office/drawing/2012/chart" uri="{CE6537A1-D6FC-4f65-9D91-7224C49458BB}">
                  <c15:layout>
                    <c:manualLayout>
                      <c:w val="8.7538658898567323E-2"/>
                      <c:h val="4.1669113433568918E-2"/>
                    </c:manualLayout>
                  </c15:layout>
                </c:ext>
                <c:ext xmlns:c16="http://schemas.microsoft.com/office/drawing/2014/chart" uri="{C3380CC4-5D6E-409C-BE32-E72D297353CC}">
                  <c16:uniqueId val="{00000002-333A-4A51-A862-5EE3E8AB7A0F}"/>
                </c:ext>
              </c:extLst>
            </c:dLbl>
            <c:dLbl>
              <c:idx val="3"/>
              <c:layout>
                <c:manualLayout>
                  <c:x val="1.7243333991838607E-2"/>
                  <c:y val="-2.7722869539116434E-3"/>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2"/>
                      </a:solidFill>
                      <a:latin typeface="+mn-lt"/>
                      <a:ea typeface="+mn-ea"/>
                      <a:cs typeface="+mn-cs"/>
                    </a:defRPr>
                  </a:pPr>
                  <a:endParaRPr lang="it-IT"/>
                </a:p>
              </c:txPr>
              <c:showLegendKey val="0"/>
              <c:showVal val="1"/>
              <c:showCatName val="0"/>
              <c:showSerName val="0"/>
              <c:showPercent val="0"/>
              <c:showBubbleSize val="0"/>
              <c:extLst>
                <c:ext xmlns:c15="http://schemas.microsoft.com/office/drawing/2012/chart" uri="{CE6537A1-D6FC-4f65-9D91-7224C49458BB}">
                  <c15:layout>
                    <c:manualLayout>
                      <c:w val="6.0294191191462329E-2"/>
                      <c:h val="2.780713291674625E-2"/>
                    </c:manualLayout>
                  </c15:layout>
                </c:ext>
                <c:ext xmlns:c16="http://schemas.microsoft.com/office/drawing/2014/chart" uri="{C3380CC4-5D6E-409C-BE32-E72D297353CC}">
                  <c16:uniqueId val="{00000003-333A-4A51-A862-5EE3E8AB7A0F}"/>
                </c:ext>
              </c:extLst>
            </c:dLbl>
            <c:dLbl>
              <c:idx val="4"/>
              <c:layout>
                <c:manualLayout>
                  <c:x val="2.5865000987757913E-2"/>
                  <c:y val="2.772396103364532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33A-4A51-A862-5EE3E8AB7A0F}"/>
                </c:ext>
              </c:extLst>
            </c:dLbl>
            <c:dLbl>
              <c:idx val="5"/>
              <c:layout>
                <c:manualLayout>
                  <c:x val="2.2991111989118143E-2"/>
                  <c:y val="5.544792206728961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33A-4A51-A862-5EE3E8AB7A0F}"/>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numRef>
              <c:f>Foglio1!$A$2:$A$7</c:f>
              <c:numCache>
                <c:formatCode>General</c:formatCode>
                <c:ptCount val="6"/>
                <c:pt idx="0">
                  <c:v>2014</c:v>
                </c:pt>
                <c:pt idx="1">
                  <c:v>2015</c:v>
                </c:pt>
                <c:pt idx="2">
                  <c:v>2016</c:v>
                </c:pt>
                <c:pt idx="3">
                  <c:v>2017</c:v>
                </c:pt>
                <c:pt idx="4">
                  <c:v>2018</c:v>
                </c:pt>
                <c:pt idx="5">
                  <c:v>2019</c:v>
                </c:pt>
              </c:numCache>
            </c:numRef>
          </c:cat>
          <c:val>
            <c:numRef>
              <c:f>Foglio1!$C$2:$C$7</c:f>
              <c:numCache>
                <c:formatCode>General</c:formatCode>
                <c:ptCount val="6"/>
                <c:pt idx="0">
                  <c:v>11.2</c:v>
                </c:pt>
                <c:pt idx="1">
                  <c:v>10.9</c:v>
                </c:pt>
                <c:pt idx="2">
                  <c:v>10.5</c:v>
                </c:pt>
                <c:pt idx="3">
                  <c:v>10</c:v>
                </c:pt>
                <c:pt idx="4">
                  <c:v>9.3000000000000007</c:v>
                </c:pt>
                <c:pt idx="5">
                  <c:v>8.4</c:v>
                </c:pt>
              </c:numCache>
            </c:numRef>
          </c:val>
          <c:extLst>
            <c:ext xmlns:c16="http://schemas.microsoft.com/office/drawing/2014/chart" uri="{C3380CC4-5D6E-409C-BE32-E72D297353CC}">
              <c16:uniqueId val="{00000001-C46F-412D-B389-BC021260FDBC}"/>
            </c:ext>
          </c:extLst>
        </c:ser>
        <c:ser>
          <c:idx val="2"/>
          <c:order val="2"/>
          <c:tx>
            <c:strRef>
              <c:f>Foglio1!$D$1</c:f>
              <c:strCache>
                <c:ptCount val="1"/>
                <c:pt idx="0">
                  <c:v>Glinidi</c:v>
                </c:pt>
              </c:strCache>
            </c:strRef>
          </c:tx>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a:scene3d>
              <a:camera prst="orthographicFront">
                <a:rot lat="0" lon="0" rev="0"/>
              </a:camera>
              <a:lightRig rig="threePt" dir="t"/>
            </a:scene3d>
            <a:sp3d>
              <a:bevelT w="25400" h="12700"/>
            </a:sp3d>
          </c:spPr>
          <c:invertIfNegative val="0"/>
          <c:dLbls>
            <c:dLbl>
              <c:idx val="0"/>
              <c:layout>
                <c:manualLayout>
                  <c:x val="1.149555599455902E-2"/>
                  <c:y val="2.772396103364532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33A-4A51-A862-5EE3E8AB7A0F}"/>
                </c:ext>
              </c:extLst>
            </c:dLbl>
            <c:dLbl>
              <c:idx val="1"/>
              <c:layout>
                <c:manualLayout>
                  <c:x val="1.436944499319878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333A-4A51-A862-5EE3E8AB7A0F}"/>
                </c:ext>
              </c:extLst>
            </c:dLbl>
            <c:dLbl>
              <c:idx val="2"/>
              <c:layout>
                <c:manualLayout>
                  <c:x val="1.1495555994559072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333A-4A51-A862-5EE3E8AB7A0F}"/>
                </c:ext>
              </c:extLst>
            </c:dLbl>
            <c:dLbl>
              <c:idx val="3"/>
              <c:layout>
                <c:manualLayout>
                  <c:x val="1.1495555994558966E-2"/>
                  <c:y val="-1.016533494818652E-1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333A-4A51-A862-5EE3E8AB7A0F}"/>
                </c:ext>
              </c:extLst>
            </c:dLbl>
            <c:dLbl>
              <c:idx val="4"/>
              <c:layout>
                <c:manualLayout>
                  <c:x val="2.8738889986397679E-2"/>
                  <c:y val="-1.016533494818652E-1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333A-4A51-A862-5EE3E8AB7A0F}"/>
                </c:ext>
              </c:extLst>
            </c:dLbl>
            <c:dLbl>
              <c:idx val="5"/>
              <c:layout>
                <c:manualLayout>
                  <c:x val="1.1495555994558966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333A-4A51-A862-5EE3E8AB7A0F}"/>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numRef>
              <c:f>Foglio1!$A$2:$A$7</c:f>
              <c:numCache>
                <c:formatCode>General</c:formatCode>
                <c:ptCount val="6"/>
                <c:pt idx="0">
                  <c:v>2014</c:v>
                </c:pt>
                <c:pt idx="1">
                  <c:v>2015</c:v>
                </c:pt>
                <c:pt idx="2">
                  <c:v>2016</c:v>
                </c:pt>
                <c:pt idx="3">
                  <c:v>2017</c:v>
                </c:pt>
                <c:pt idx="4">
                  <c:v>2018</c:v>
                </c:pt>
                <c:pt idx="5">
                  <c:v>2019</c:v>
                </c:pt>
              </c:numCache>
            </c:numRef>
          </c:cat>
          <c:val>
            <c:numRef>
              <c:f>Foglio1!$D$2:$D$7</c:f>
              <c:numCache>
                <c:formatCode>General</c:formatCode>
                <c:ptCount val="6"/>
                <c:pt idx="0">
                  <c:v>3.9</c:v>
                </c:pt>
                <c:pt idx="1">
                  <c:v>3.6</c:v>
                </c:pt>
                <c:pt idx="2">
                  <c:v>3.3</c:v>
                </c:pt>
                <c:pt idx="3">
                  <c:v>3</c:v>
                </c:pt>
                <c:pt idx="4">
                  <c:v>2.6</c:v>
                </c:pt>
                <c:pt idx="5">
                  <c:v>2.2000000000000002</c:v>
                </c:pt>
              </c:numCache>
            </c:numRef>
          </c:val>
          <c:extLst>
            <c:ext xmlns:c16="http://schemas.microsoft.com/office/drawing/2014/chart" uri="{C3380CC4-5D6E-409C-BE32-E72D297353CC}">
              <c16:uniqueId val="{00000002-C46F-412D-B389-BC021260FDBC}"/>
            </c:ext>
          </c:extLst>
        </c:ser>
        <c:ser>
          <c:idx val="3"/>
          <c:order val="3"/>
          <c:tx>
            <c:strRef>
              <c:f>Foglio1!$E$1</c:f>
              <c:strCache>
                <c:ptCount val="1"/>
                <c:pt idx="0">
                  <c:v>Glitazonici</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scene3d>
              <a:camera prst="orthographicFront">
                <a:rot lat="0" lon="0" rev="0"/>
              </a:camera>
              <a:lightRig rig="threePt" dir="t"/>
            </a:scene3d>
            <a:sp3d>
              <a:bevelT w="25400" h="12700"/>
            </a:sp3d>
          </c:spPr>
          <c:invertIfNegative val="0"/>
          <c:dLbls>
            <c:delete val="1"/>
          </c:dLbls>
          <c:cat>
            <c:numRef>
              <c:f>Foglio1!$A$2:$A$7</c:f>
              <c:numCache>
                <c:formatCode>General</c:formatCode>
                <c:ptCount val="6"/>
                <c:pt idx="0">
                  <c:v>2014</c:v>
                </c:pt>
                <c:pt idx="1">
                  <c:v>2015</c:v>
                </c:pt>
                <c:pt idx="2">
                  <c:v>2016</c:v>
                </c:pt>
                <c:pt idx="3">
                  <c:v>2017</c:v>
                </c:pt>
                <c:pt idx="4">
                  <c:v>2018</c:v>
                </c:pt>
                <c:pt idx="5">
                  <c:v>2019</c:v>
                </c:pt>
              </c:numCache>
            </c:numRef>
          </c:cat>
          <c:val>
            <c:numRef>
              <c:f>Foglio1!$E$2:$E$7</c:f>
              <c:numCache>
                <c:formatCode>General</c:formatCode>
                <c:ptCount val="6"/>
                <c:pt idx="0">
                  <c:v>2.2000000000000002</c:v>
                </c:pt>
                <c:pt idx="1">
                  <c:v>2.1</c:v>
                </c:pt>
                <c:pt idx="2">
                  <c:v>1.9</c:v>
                </c:pt>
                <c:pt idx="3">
                  <c:v>1.7</c:v>
                </c:pt>
                <c:pt idx="4">
                  <c:v>1.7</c:v>
                </c:pt>
                <c:pt idx="5">
                  <c:v>1.7</c:v>
                </c:pt>
              </c:numCache>
            </c:numRef>
          </c:val>
          <c:extLst>
            <c:ext xmlns:c16="http://schemas.microsoft.com/office/drawing/2014/chart" uri="{C3380CC4-5D6E-409C-BE32-E72D297353CC}">
              <c16:uniqueId val="{00000003-C46F-412D-B389-BC021260FDBC}"/>
            </c:ext>
          </c:extLst>
        </c:ser>
        <c:ser>
          <c:idx val="4"/>
          <c:order val="4"/>
          <c:tx>
            <c:strRef>
              <c:f>Foglio1!$F$1</c:f>
              <c:strCache>
                <c:ptCount val="1"/>
                <c:pt idx="0">
                  <c:v>Acarbosio</c:v>
                </c:pt>
              </c:strCache>
            </c:strRef>
          </c:tx>
          <c:spPr>
            <a:gradFill rotWithShape="1">
              <a:gsLst>
                <a:gs pos="0">
                  <a:schemeClr val="accent5">
                    <a:satMod val="103000"/>
                    <a:lumMod val="102000"/>
                    <a:tint val="94000"/>
                  </a:schemeClr>
                </a:gs>
                <a:gs pos="50000">
                  <a:schemeClr val="accent5">
                    <a:satMod val="110000"/>
                    <a:lumMod val="100000"/>
                    <a:shade val="100000"/>
                  </a:schemeClr>
                </a:gs>
                <a:gs pos="100000">
                  <a:schemeClr val="accent5">
                    <a:lumMod val="99000"/>
                    <a:satMod val="120000"/>
                    <a:shade val="78000"/>
                  </a:schemeClr>
                </a:gs>
              </a:gsLst>
              <a:lin ang="5400000" scaled="0"/>
            </a:gradFill>
            <a:ln>
              <a:noFill/>
            </a:ln>
            <a:effectLst/>
            <a:scene3d>
              <a:camera prst="orthographicFront">
                <a:rot lat="0" lon="0" rev="0"/>
              </a:camera>
              <a:lightRig rig="threePt" dir="t"/>
            </a:scene3d>
            <a:sp3d>
              <a:bevelT w="25400" h="12700"/>
            </a:sp3d>
          </c:spPr>
          <c:invertIfNegative val="0"/>
          <c:dLbls>
            <c:delete val="1"/>
          </c:dLbls>
          <c:cat>
            <c:numRef>
              <c:f>Foglio1!$A$2:$A$7</c:f>
              <c:numCache>
                <c:formatCode>General</c:formatCode>
                <c:ptCount val="6"/>
                <c:pt idx="0">
                  <c:v>2014</c:v>
                </c:pt>
                <c:pt idx="1">
                  <c:v>2015</c:v>
                </c:pt>
                <c:pt idx="2">
                  <c:v>2016</c:v>
                </c:pt>
                <c:pt idx="3">
                  <c:v>2017</c:v>
                </c:pt>
                <c:pt idx="4">
                  <c:v>2018</c:v>
                </c:pt>
                <c:pt idx="5">
                  <c:v>2019</c:v>
                </c:pt>
              </c:numCache>
            </c:numRef>
          </c:cat>
          <c:val>
            <c:numRef>
              <c:f>Foglio1!$F$2:$F$7</c:f>
              <c:numCache>
                <c:formatCode>General</c:formatCode>
                <c:ptCount val="6"/>
                <c:pt idx="0">
                  <c:v>0.7</c:v>
                </c:pt>
                <c:pt idx="1">
                  <c:v>0.7</c:v>
                </c:pt>
                <c:pt idx="2">
                  <c:v>0.7</c:v>
                </c:pt>
                <c:pt idx="3">
                  <c:v>0.7</c:v>
                </c:pt>
                <c:pt idx="4">
                  <c:v>0.6</c:v>
                </c:pt>
                <c:pt idx="5">
                  <c:v>0.6</c:v>
                </c:pt>
              </c:numCache>
            </c:numRef>
          </c:val>
          <c:extLst>
            <c:ext xmlns:c16="http://schemas.microsoft.com/office/drawing/2014/chart" uri="{C3380CC4-5D6E-409C-BE32-E72D297353CC}">
              <c16:uniqueId val="{00000004-C46F-412D-B389-BC021260FDBC}"/>
            </c:ext>
          </c:extLst>
        </c:ser>
        <c:dLbls>
          <c:showLegendKey val="0"/>
          <c:showVal val="1"/>
          <c:showCatName val="0"/>
          <c:showSerName val="0"/>
          <c:showPercent val="0"/>
          <c:showBubbleSize val="0"/>
        </c:dLbls>
        <c:gapWidth val="150"/>
        <c:shape val="box"/>
        <c:axId val="573770352"/>
        <c:axId val="573774616"/>
        <c:axId val="0"/>
        <c:extLst>
          <c:ext xmlns:c15="http://schemas.microsoft.com/office/drawing/2012/chart" uri="{02D57815-91ED-43cb-92C2-25804820EDAC}">
            <c15:filteredBarSeries>
              <c15:ser>
                <c:idx val="5"/>
                <c:order val="5"/>
                <c:tx>
                  <c:strRef>
                    <c:extLst>
                      <c:ext uri="{02D57815-91ED-43cb-92C2-25804820EDAC}">
                        <c15:formulaRef>
                          <c15:sqref>Foglio1!$G$1</c15:sqref>
                        </c15:formulaRef>
                      </c:ext>
                    </c:extLst>
                    <c:strCache>
                      <c:ptCount val="1"/>
                      <c:pt idx="0">
                        <c:v>Colonna1</c:v>
                      </c:pt>
                    </c:strCache>
                  </c:strRef>
                </c:tx>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scene3d>
                    <a:camera prst="orthographicFront">
                      <a:rot lat="0" lon="0" rev="0"/>
                    </a:camera>
                    <a:lightRig rig="threePt" dir="t"/>
                  </a:scene3d>
                  <a:sp3d>
                    <a:bevelT w="25400" h="12700"/>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it-IT"/>
                    </a:p>
                  </c:txPr>
                  <c:showLegendKey val="0"/>
                  <c:showVal val="1"/>
                  <c:showCatName val="0"/>
                  <c:showSerName val="0"/>
                  <c:showPercent val="0"/>
                  <c:showBubbleSize val="0"/>
                  <c:showLeaderLines val="0"/>
                  <c:extLst>
                    <c:ext uri="{CE6537A1-D6FC-4f65-9D91-7224C49458BB}">
                      <c15:showLeaderLines val="1"/>
                      <c15:leaderLines>
                        <c:spPr>
                          <a:ln w="9525">
                            <a:solidFill>
                              <a:schemeClr val="tx2">
                                <a:lumMod val="35000"/>
                                <a:lumOff val="65000"/>
                              </a:schemeClr>
                            </a:solidFill>
                          </a:ln>
                          <a:effectLst/>
                        </c:spPr>
                      </c15:leaderLines>
                    </c:ext>
                  </c:extLst>
                </c:dLbls>
                <c:cat>
                  <c:numRef>
                    <c:extLst>
                      <c:ext uri="{02D57815-91ED-43cb-92C2-25804820EDAC}">
                        <c15:formulaRef>
                          <c15:sqref>Foglio1!$A$2:$A$7</c15:sqref>
                        </c15:formulaRef>
                      </c:ext>
                    </c:extLst>
                    <c:numCache>
                      <c:formatCode>General</c:formatCode>
                      <c:ptCount val="6"/>
                      <c:pt idx="0">
                        <c:v>2014</c:v>
                      </c:pt>
                      <c:pt idx="1">
                        <c:v>2015</c:v>
                      </c:pt>
                      <c:pt idx="2">
                        <c:v>2016</c:v>
                      </c:pt>
                      <c:pt idx="3">
                        <c:v>2017</c:v>
                      </c:pt>
                      <c:pt idx="4">
                        <c:v>2018</c:v>
                      </c:pt>
                      <c:pt idx="5">
                        <c:v>2019</c:v>
                      </c:pt>
                    </c:numCache>
                  </c:numRef>
                </c:cat>
                <c:val>
                  <c:numRef>
                    <c:extLst>
                      <c:ext uri="{02D57815-91ED-43cb-92C2-25804820EDAC}">
                        <c15:formulaRef>
                          <c15:sqref>Foglio1!$G$2:$G$7</c15:sqref>
                        </c15:formulaRef>
                      </c:ext>
                    </c:extLst>
                    <c:numCache>
                      <c:formatCode>General</c:formatCode>
                      <c:ptCount val="6"/>
                    </c:numCache>
                  </c:numRef>
                </c:val>
                <c:extLst>
                  <c:ext xmlns:c16="http://schemas.microsoft.com/office/drawing/2014/chart" uri="{C3380CC4-5D6E-409C-BE32-E72D297353CC}">
                    <c16:uniqueId val="{00000005-C46F-412D-B389-BC021260FDBC}"/>
                  </c:ext>
                </c:extLst>
              </c15:ser>
            </c15:filteredBarSeries>
          </c:ext>
        </c:extLst>
      </c:bar3DChart>
      <c:catAx>
        <c:axId val="573770352"/>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it-IT"/>
          </a:p>
        </c:txPr>
        <c:crossAx val="573774616"/>
        <c:crosses val="autoZero"/>
        <c:auto val="1"/>
        <c:lblAlgn val="ctr"/>
        <c:lblOffset val="100"/>
        <c:noMultiLvlLbl val="0"/>
      </c:catAx>
      <c:valAx>
        <c:axId val="573774616"/>
        <c:scaling>
          <c:orientation val="minMax"/>
        </c:scaling>
        <c:delete val="0"/>
        <c:axPos val="l"/>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it-IT"/>
          </a:p>
        </c:txPr>
        <c:crossAx val="573770352"/>
        <c:crosses val="autoZero"/>
        <c:crossBetween val="between"/>
      </c:valAx>
      <c:dTable>
        <c:showHorzBorder val="1"/>
        <c:showVertBorder val="1"/>
        <c:showOutline val="1"/>
        <c:showKeys val="1"/>
        <c:spPr>
          <a:noFill/>
          <a:ln w="9525">
            <a:solidFill>
              <a:schemeClr val="tx2">
                <a:lumMod val="15000"/>
                <a:lumOff val="85000"/>
              </a:schemeClr>
            </a:solidFill>
          </a:ln>
          <a:effectLst/>
        </c:spPr>
        <c:txPr>
          <a:bodyPr rot="0" spcFirstLastPara="1" vertOverflow="ellipsis" vert="horz" wrap="square" anchor="ctr" anchorCtr="1"/>
          <a:lstStyle/>
          <a:p>
            <a:pPr rtl="0">
              <a:defRPr sz="900" b="0" i="0" u="none" strike="noStrike" kern="1200" baseline="0">
                <a:solidFill>
                  <a:schemeClr val="tx2"/>
                </a:solidFill>
                <a:latin typeface="+mn-lt"/>
                <a:ea typeface="+mn-ea"/>
                <a:cs typeface="+mn-cs"/>
              </a:defRPr>
            </a:pPr>
            <a:endParaRPr lang="it-IT"/>
          </a:p>
        </c:txPr>
      </c:dTable>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baseline="0">
                <a:solidFill>
                  <a:schemeClr val="tx2"/>
                </a:solidFill>
                <a:latin typeface="+mn-lt"/>
                <a:ea typeface="+mn-ea"/>
                <a:cs typeface="+mn-cs"/>
              </a:defRPr>
            </a:pPr>
            <a:r>
              <a:rPr lang="it-IT" dirty="0"/>
              <a:t>Consumo di antidiabetici </a:t>
            </a:r>
            <a:r>
              <a:rPr lang="it-IT" dirty="0" smtClean="0"/>
              <a:t>recenti </a:t>
            </a:r>
            <a:r>
              <a:rPr lang="it-IT" dirty="0"/>
              <a:t>per categoria terapeutica 2014-2019</a:t>
            </a:r>
          </a:p>
        </c:rich>
      </c:tx>
      <c:overlay val="0"/>
      <c:spPr>
        <a:noFill/>
        <a:ln>
          <a:noFill/>
        </a:ln>
        <a:effectLst/>
      </c:spPr>
      <c:txPr>
        <a:bodyPr rot="0" spcFirstLastPara="1" vertOverflow="ellipsis" vert="horz" wrap="square" anchor="ctr" anchorCtr="1"/>
        <a:lstStyle/>
        <a:p>
          <a:pPr>
            <a:defRPr sz="1600" b="1" i="0" u="none" strike="noStrike" kern="1200" baseline="0">
              <a:solidFill>
                <a:schemeClr val="tx2"/>
              </a:solidFill>
              <a:latin typeface="+mn-lt"/>
              <a:ea typeface="+mn-ea"/>
              <a:cs typeface="+mn-cs"/>
            </a:defRPr>
          </a:pPr>
          <a:endParaRPr lang="it-IT"/>
        </a:p>
      </c:tx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clustered"/>
        <c:varyColors val="0"/>
        <c:ser>
          <c:idx val="0"/>
          <c:order val="0"/>
          <c:tx>
            <c:strRef>
              <c:f>Foglio1!$B$1</c:f>
              <c:strCache>
                <c:ptCount val="1"/>
                <c:pt idx="0">
                  <c:v>GLP1-AR</c:v>
                </c:pt>
              </c:strCache>
            </c:strRef>
          </c:tx>
          <c:spPr>
            <a:gradFill rotWithShape="1">
              <a:gsLst>
                <a:gs pos="0">
                  <a:srgbClr val="FF0000"/>
                </a:gs>
                <a:gs pos="100000">
                  <a:schemeClr val="accent1">
                    <a:satMod val="110000"/>
                    <a:lumMod val="100000"/>
                    <a:shade val="100000"/>
                  </a:schemeClr>
                </a:gs>
                <a:gs pos="100000">
                  <a:schemeClr val="accent1">
                    <a:lumMod val="99000"/>
                    <a:satMod val="120000"/>
                    <a:shade val="78000"/>
                  </a:schemeClr>
                </a:gs>
              </a:gsLst>
              <a:lin ang="5400000" scaled="0"/>
            </a:gradFill>
            <a:ln>
              <a:noFill/>
            </a:ln>
            <a:effectLst/>
            <a:scene3d>
              <a:camera prst="orthographicFront">
                <a:rot lat="0" lon="0" rev="0"/>
              </a:camera>
              <a:lightRig rig="threePt" dir="t"/>
            </a:scene3d>
            <a:sp3d>
              <a:bevelT w="25400" h="12700"/>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numRef>
              <c:f>Foglio1!$A$2:$A$7</c:f>
              <c:numCache>
                <c:formatCode>General</c:formatCode>
                <c:ptCount val="6"/>
                <c:pt idx="0">
                  <c:v>2014</c:v>
                </c:pt>
                <c:pt idx="1">
                  <c:v>2015</c:v>
                </c:pt>
                <c:pt idx="2">
                  <c:v>2016</c:v>
                </c:pt>
                <c:pt idx="3">
                  <c:v>2017</c:v>
                </c:pt>
                <c:pt idx="4">
                  <c:v>2018</c:v>
                </c:pt>
                <c:pt idx="5">
                  <c:v>2019</c:v>
                </c:pt>
              </c:numCache>
            </c:numRef>
          </c:cat>
          <c:val>
            <c:numRef>
              <c:f>Foglio1!$B$2:$B$7</c:f>
              <c:numCache>
                <c:formatCode>General</c:formatCode>
                <c:ptCount val="6"/>
                <c:pt idx="0">
                  <c:v>0.7</c:v>
                </c:pt>
                <c:pt idx="1">
                  <c:v>0.8</c:v>
                </c:pt>
                <c:pt idx="2">
                  <c:v>1</c:v>
                </c:pt>
                <c:pt idx="3">
                  <c:v>1.3</c:v>
                </c:pt>
                <c:pt idx="4">
                  <c:v>1.7</c:v>
                </c:pt>
                <c:pt idx="5">
                  <c:v>2.5</c:v>
                </c:pt>
              </c:numCache>
            </c:numRef>
          </c:val>
          <c:extLst>
            <c:ext xmlns:c16="http://schemas.microsoft.com/office/drawing/2014/chart" uri="{C3380CC4-5D6E-409C-BE32-E72D297353CC}">
              <c16:uniqueId val="{00000000-9A16-4A33-9A5D-28B9876259C4}"/>
            </c:ext>
          </c:extLst>
        </c:ser>
        <c:ser>
          <c:idx val="1"/>
          <c:order val="1"/>
          <c:tx>
            <c:strRef>
              <c:f>Foglio1!$C$1</c:f>
              <c:strCache>
                <c:ptCount val="1"/>
                <c:pt idx="0">
                  <c:v>DPP4-i</c:v>
                </c:pt>
              </c:strCache>
            </c:strRef>
          </c:tx>
          <c:spPr>
            <a:gradFill rotWithShape="1">
              <a:gsLst>
                <a:gs pos="0">
                  <a:schemeClr val="accent6">
                    <a:lumMod val="60000"/>
                    <a:lumOff val="40000"/>
                  </a:schemeClr>
                </a:gs>
                <a:gs pos="100000">
                  <a:schemeClr val="accent6"/>
                </a:gs>
                <a:gs pos="100000">
                  <a:schemeClr val="accent2">
                    <a:lumMod val="99000"/>
                    <a:satMod val="120000"/>
                    <a:shade val="78000"/>
                  </a:schemeClr>
                </a:gs>
              </a:gsLst>
              <a:lin ang="5400000" scaled="0"/>
            </a:gradFill>
            <a:ln>
              <a:noFill/>
            </a:ln>
            <a:effectLst/>
            <a:scene3d>
              <a:camera prst="orthographicFront">
                <a:rot lat="0" lon="0" rev="0"/>
              </a:camera>
              <a:lightRig rig="threePt" dir="t"/>
            </a:scene3d>
            <a:sp3d>
              <a:bevelT w="25400" h="12700"/>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numRef>
              <c:f>Foglio1!$A$2:$A$7</c:f>
              <c:numCache>
                <c:formatCode>General</c:formatCode>
                <c:ptCount val="6"/>
                <c:pt idx="0">
                  <c:v>2014</c:v>
                </c:pt>
                <c:pt idx="1">
                  <c:v>2015</c:v>
                </c:pt>
                <c:pt idx="2">
                  <c:v>2016</c:v>
                </c:pt>
                <c:pt idx="3">
                  <c:v>2017</c:v>
                </c:pt>
                <c:pt idx="4">
                  <c:v>2018</c:v>
                </c:pt>
                <c:pt idx="5">
                  <c:v>2019</c:v>
                </c:pt>
              </c:numCache>
            </c:numRef>
          </c:cat>
          <c:val>
            <c:numRef>
              <c:f>Foglio1!$C$2:$C$7</c:f>
              <c:numCache>
                <c:formatCode>General</c:formatCode>
                <c:ptCount val="6"/>
                <c:pt idx="0">
                  <c:v>1.4</c:v>
                </c:pt>
                <c:pt idx="1">
                  <c:v>1.7</c:v>
                </c:pt>
                <c:pt idx="2">
                  <c:v>2.1</c:v>
                </c:pt>
                <c:pt idx="3">
                  <c:v>2.2999999999999998</c:v>
                </c:pt>
                <c:pt idx="4">
                  <c:v>2.7</c:v>
                </c:pt>
                <c:pt idx="5">
                  <c:v>3</c:v>
                </c:pt>
              </c:numCache>
            </c:numRef>
          </c:val>
          <c:extLst>
            <c:ext xmlns:c16="http://schemas.microsoft.com/office/drawing/2014/chart" uri="{C3380CC4-5D6E-409C-BE32-E72D297353CC}">
              <c16:uniqueId val="{00000001-9A16-4A33-9A5D-28B9876259C4}"/>
            </c:ext>
          </c:extLst>
        </c:ser>
        <c:ser>
          <c:idx val="2"/>
          <c:order val="2"/>
          <c:tx>
            <c:strRef>
              <c:f>Foglio1!$D$1</c:f>
              <c:strCache>
                <c:ptCount val="1"/>
                <c:pt idx="0">
                  <c:v>SGLT-2 i</c:v>
                </c:pt>
              </c:strCache>
            </c:strRef>
          </c:tx>
          <c:spPr>
            <a:gradFill rotWithShape="1">
              <a:gsLst>
                <a:gs pos="100000">
                  <a:srgbClr val="FFFF00"/>
                </a:gs>
                <a:gs pos="100000">
                  <a:schemeClr val="accent3">
                    <a:lumMod val="99000"/>
                    <a:satMod val="120000"/>
                    <a:shade val="78000"/>
                  </a:schemeClr>
                </a:gs>
              </a:gsLst>
              <a:lin ang="5400000" scaled="0"/>
            </a:gradFill>
            <a:ln>
              <a:noFill/>
            </a:ln>
            <a:effectLst/>
            <a:scene3d>
              <a:camera prst="orthographicFront">
                <a:rot lat="0" lon="0" rev="0"/>
              </a:camera>
              <a:lightRig rig="threePt" dir="t"/>
            </a:scene3d>
            <a:sp3d>
              <a:bevelT w="25400" h="12700"/>
            </a:sp3d>
          </c:spPr>
          <c:invertIfNegative val="0"/>
          <c:dLbls>
            <c:delete val="1"/>
          </c:dLbls>
          <c:cat>
            <c:numRef>
              <c:f>Foglio1!$A$2:$A$7</c:f>
              <c:numCache>
                <c:formatCode>General</c:formatCode>
                <c:ptCount val="6"/>
                <c:pt idx="0">
                  <c:v>2014</c:v>
                </c:pt>
                <c:pt idx="1">
                  <c:v>2015</c:v>
                </c:pt>
                <c:pt idx="2">
                  <c:v>2016</c:v>
                </c:pt>
                <c:pt idx="3">
                  <c:v>2017</c:v>
                </c:pt>
                <c:pt idx="4">
                  <c:v>2018</c:v>
                </c:pt>
                <c:pt idx="5">
                  <c:v>2019</c:v>
                </c:pt>
              </c:numCache>
            </c:numRef>
          </c:cat>
          <c:val>
            <c:numRef>
              <c:f>Foglio1!$D$2:$D$7</c:f>
              <c:numCache>
                <c:formatCode>General</c:formatCode>
                <c:ptCount val="6"/>
                <c:pt idx="0">
                  <c:v>0</c:v>
                </c:pt>
                <c:pt idx="1">
                  <c:v>0.1</c:v>
                </c:pt>
                <c:pt idx="2">
                  <c:v>0.5</c:v>
                </c:pt>
                <c:pt idx="3">
                  <c:v>0.7</c:v>
                </c:pt>
                <c:pt idx="4">
                  <c:v>1</c:v>
                </c:pt>
                <c:pt idx="5">
                  <c:v>1.3</c:v>
                </c:pt>
              </c:numCache>
            </c:numRef>
          </c:val>
          <c:extLst>
            <c:ext xmlns:c16="http://schemas.microsoft.com/office/drawing/2014/chart" uri="{C3380CC4-5D6E-409C-BE32-E72D297353CC}">
              <c16:uniqueId val="{00000002-9A16-4A33-9A5D-28B9876259C4}"/>
            </c:ext>
          </c:extLst>
        </c:ser>
        <c:dLbls>
          <c:showLegendKey val="0"/>
          <c:showVal val="1"/>
          <c:showCatName val="0"/>
          <c:showSerName val="0"/>
          <c:showPercent val="0"/>
          <c:showBubbleSize val="0"/>
        </c:dLbls>
        <c:gapWidth val="150"/>
        <c:shape val="box"/>
        <c:axId val="513160544"/>
        <c:axId val="513160872"/>
        <c:axId val="0"/>
        <c:extLst>
          <c:ext xmlns:c15="http://schemas.microsoft.com/office/drawing/2012/chart" uri="{02D57815-91ED-43cb-92C2-25804820EDAC}">
            <c15:filteredBarSeries>
              <c15:ser>
                <c:idx val="3"/>
                <c:order val="3"/>
                <c:tx>
                  <c:strRef>
                    <c:extLst>
                      <c:ext uri="{02D57815-91ED-43cb-92C2-25804820EDAC}">
                        <c15:formulaRef>
                          <c15:sqref>Foglio1!$E$1</c15:sqref>
                        </c15:formulaRef>
                      </c:ext>
                    </c:extLst>
                    <c:strCache>
                      <c:ptCount val="1"/>
                      <c:pt idx="0">
                        <c:v>Colonna1</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scene3d>
                    <a:camera prst="orthographicFront">
                      <a:rot lat="0" lon="0" rev="0"/>
                    </a:camera>
                    <a:lightRig rig="threePt" dir="t"/>
                  </a:scene3d>
                  <a:sp3d>
                    <a:bevelT w="25400" h="12700"/>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it-IT"/>
                    </a:p>
                  </c:txPr>
                  <c:showLegendKey val="0"/>
                  <c:showVal val="1"/>
                  <c:showCatName val="0"/>
                  <c:showSerName val="0"/>
                  <c:showPercent val="0"/>
                  <c:showBubbleSize val="0"/>
                  <c:showLeaderLines val="0"/>
                  <c:extLst>
                    <c:ext uri="{CE6537A1-D6FC-4f65-9D91-7224C49458BB}">
                      <c15:showLeaderLines val="1"/>
                      <c15:leaderLines>
                        <c:spPr>
                          <a:ln w="9525">
                            <a:solidFill>
                              <a:schemeClr val="tx2">
                                <a:lumMod val="35000"/>
                                <a:lumOff val="65000"/>
                              </a:schemeClr>
                            </a:solidFill>
                          </a:ln>
                          <a:effectLst/>
                        </c:spPr>
                      </c15:leaderLines>
                    </c:ext>
                  </c:extLst>
                </c:dLbls>
                <c:cat>
                  <c:numRef>
                    <c:extLst>
                      <c:ext uri="{02D57815-91ED-43cb-92C2-25804820EDAC}">
                        <c15:formulaRef>
                          <c15:sqref>Foglio1!$A$2:$A$7</c15:sqref>
                        </c15:formulaRef>
                      </c:ext>
                    </c:extLst>
                    <c:numCache>
                      <c:formatCode>General</c:formatCode>
                      <c:ptCount val="6"/>
                      <c:pt idx="0">
                        <c:v>2014</c:v>
                      </c:pt>
                      <c:pt idx="1">
                        <c:v>2015</c:v>
                      </c:pt>
                      <c:pt idx="2">
                        <c:v>2016</c:v>
                      </c:pt>
                      <c:pt idx="3">
                        <c:v>2017</c:v>
                      </c:pt>
                      <c:pt idx="4">
                        <c:v>2018</c:v>
                      </c:pt>
                      <c:pt idx="5">
                        <c:v>2019</c:v>
                      </c:pt>
                    </c:numCache>
                  </c:numRef>
                </c:cat>
                <c:val>
                  <c:numRef>
                    <c:extLst>
                      <c:ext uri="{02D57815-91ED-43cb-92C2-25804820EDAC}">
                        <c15:formulaRef>
                          <c15:sqref>Foglio1!$E$2:$E$7</c15:sqref>
                        </c15:formulaRef>
                      </c:ext>
                    </c:extLst>
                    <c:numCache>
                      <c:formatCode>General</c:formatCode>
                      <c:ptCount val="6"/>
                    </c:numCache>
                  </c:numRef>
                </c:val>
                <c:extLst>
                  <c:ext xmlns:c16="http://schemas.microsoft.com/office/drawing/2014/chart" uri="{C3380CC4-5D6E-409C-BE32-E72D297353CC}">
                    <c16:uniqueId val="{00000003-9A16-4A33-9A5D-28B9876259C4}"/>
                  </c:ext>
                </c:extLst>
              </c15:ser>
            </c15:filteredBarSeries>
          </c:ext>
        </c:extLst>
      </c:bar3DChart>
      <c:catAx>
        <c:axId val="513160544"/>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it-IT"/>
          </a:p>
        </c:txPr>
        <c:crossAx val="513160872"/>
        <c:crosses val="autoZero"/>
        <c:auto val="1"/>
        <c:lblAlgn val="ctr"/>
        <c:lblOffset val="100"/>
        <c:noMultiLvlLbl val="0"/>
      </c:catAx>
      <c:valAx>
        <c:axId val="513160872"/>
        <c:scaling>
          <c:orientation val="minMax"/>
        </c:scaling>
        <c:delete val="0"/>
        <c:axPos val="l"/>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it-IT"/>
          </a:p>
        </c:txPr>
        <c:crossAx val="513160544"/>
        <c:crosses val="autoZero"/>
        <c:crossBetween val="between"/>
      </c:valAx>
      <c:dTable>
        <c:showHorzBorder val="1"/>
        <c:showVertBorder val="1"/>
        <c:showOutline val="1"/>
        <c:showKeys val="1"/>
        <c:spPr>
          <a:noFill/>
          <a:ln w="9525">
            <a:solidFill>
              <a:schemeClr val="tx2">
                <a:lumMod val="15000"/>
                <a:lumOff val="85000"/>
              </a:schemeClr>
            </a:solidFill>
          </a:ln>
          <a:effectLst/>
        </c:spPr>
        <c:txPr>
          <a:bodyPr rot="0" spcFirstLastPara="1" vertOverflow="ellipsis" vert="horz" wrap="square" anchor="ctr" anchorCtr="1"/>
          <a:lstStyle/>
          <a:p>
            <a:pPr rtl="0">
              <a:defRPr sz="900" b="0" i="0" u="none" strike="noStrike" kern="1200" baseline="0">
                <a:solidFill>
                  <a:schemeClr val="tx2"/>
                </a:solidFill>
                <a:latin typeface="+mn-lt"/>
                <a:ea typeface="+mn-ea"/>
                <a:cs typeface="+mn-cs"/>
              </a:defRPr>
            </a:pPr>
            <a:endParaRPr lang="it-IT"/>
          </a:p>
        </c:txPr>
      </c:dTable>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it-IT"/>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baseline="0">
                <a:solidFill>
                  <a:schemeClr val="tx2"/>
                </a:solidFill>
                <a:latin typeface="+mn-lt"/>
                <a:ea typeface="+mn-ea"/>
                <a:cs typeface="+mn-cs"/>
              </a:defRPr>
            </a:pPr>
            <a:r>
              <a:rPr lang="it-IT" dirty="0"/>
              <a:t>Prescrizioni di antidiabetici </a:t>
            </a:r>
            <a:endParaRPr lang="it-IT" dirty="0" smtClean="0"/>
          </a:p>
          <a:p>
            <a:pPr>
              <a:defRPr/>
            </a:pPr>
            <a:r>
              <a:rPr lang="it-IT" dirty="0" smtClean="0"/>
              <a:t>2019</a:t>
            </a:r>
            <a:r>
              <a:rPr lang="it-IT" baseline="0" dirty="0" smtClean="0"/>
              <a:t> vs </a:t>
            </a:r>
            <a:r>
              <a:rPr lang="it-IT" dirty="0" smtClean="0"/>
              <a:t>2018</a:t>
            </a:r>
            <a:endParaRPr lang="it-IT" dirty="0"/>
          </a:p>
        </c:rich>
      </c:tx>
      <c:overlay val="0"/>
      <c:spPr>
        <a:noFill/>
        <a:ln>
          <a:noFill/>
        </a:ln>
        <a:effectLst/>
      </c:spPr>
      <c:txPr>
        <a:bodyPr rot="0" spcFirstLastPara="1" vertOverflow="ellipsis" vert="horz" wrap="square" anchor="ctr" anchorCtr="1"/>
        <a:lstStyle/>
        <a:p>
          <a:pPr>
            <a:defRPr sz="1600" b="1" i="0" u="none" strike="noStrike" kern="1200" baseline="0">
              <a:solidFill>
                <a:schemeClr val="tx2"/>
              </a:solidFill>
              <a:latin typeface="+mn-lt"/>
              <a:ea typeface="+mn-ea"/>
              <a:cs typeface="+mn-cs"/>
            </a:defRPr>
          </a:pPr>
          <a:endParaRPr lang="it-IT"/>
        </a:p>
      </c:tx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clustered"/>
        <c:varyColors val="0"/>
        <c:ser>
          <c:idx val="0"/>
          <c:order val="0"/>
          <c:tx>
            <c:strRef>
              <c:f>Foglio1!$B$1</c:f>
              <c:strCache>
                <c:ptCount val="1"/>
                <c:pt idx="0">
                  <c:v>Metformina</c:v>
                </c:pt>
              </c:strCache>
            </c:strRef>
          </c:tx>
          <c:spPr>
            <a:gradFill rotWithShape="1">
              <a:gsLst>
                <a:gs pos="0">
                  <a:srgbClr val="92D050"/>
                </a:gs>
                <a:gs pos="100000">
                  <a:srgbClr val="00B050"/>
                </a:gs>
                <a:gs pos="100000">
                  <a:schemeClr val="accent1">
                    <a:lumMod val="99000"/>
                    <a:satMod val="120000"/>
                    <a:shade val="78000"/>
                  </a:schemeClr>
                </a:gs>
              </a:gsLst>
              <a:lin ang="5400000" scaled="0"/>
            </a:gradFill>
            <a:ln>
              <a:noFill/>
            </a:ln>
            <a:effectLst/>
            <a:scene3d>
              <a:camera prst="orthographicFront">
                <a:rot lat="0" lon="0" rev="0"/>
              </a:camera>
              <a:lightRig rig="threePt" dir="t"/>
            </a:scene3d>
            <a:sp3d>
              <a:bevelT w="25400" h="12700"/>
            </a:sp3d>
          </c:spPr>
          <c:invertIfNegative val="0"/>
          <c:cat>
            <c:strRef>
              <c:f>Foglio1!$A$2:$A$7</c:f>
              <c:strCache>
                <c:ptCount val="6"/>
                <c:pt idx="0">
                  <c:v>Spesa pro capite</c:v>
                </c:pt>
                <c:pt idx="1">
                  <c:v>variazione % 19-18</c:v>
                </c:pt>
                <c:pt idx="2">
                  <c:v>DDD/1000 ab die</c:v>
                </c:pt>
                <c:pt idx="3">
                  <c:v>variazione % 19-18</c:v>
                </c:pt>
                <c:pt idx="4">
                  <c:v>Costo medio DDD</c:v>
                </c:pt>
                <c:pt idx="5">
                  <c:v>variazione % 19-18</c:v>
                </c:pt>
              </c:strCache>
            </c:strRef>
          </c:cat>
          <c:val>
            <c:numRef>
              <c:f>Foglio1!$B$2:$B$7</c:f>
              <c:numCache>
                <c:formatCode>General</c:formatCode>
                <c:ptCount val="6"/>
                <c:pt idx="0">
                  <c:v>1.64</c:v>
                </c:pt>
                <c:pt idx="1">
                  <c:v>-1</c:v>
                </c:pt>
                <c:pt idx="2">
                  <c:v>24</c:v>
                </c:pt>
                <c:pt idx="3">
                  <c:v>-0.1</c:v>
                </c:pt>
                <c:pt idx="4">
                  <c:v>0.19</c:v>
                </c:pt>
                <c:pt idx="5">
                  <c:v>-0.8</c:v>
                </c:pt>
              </c:numCache>
            </c:numRef>
          </c:val>
          <c:extLst>
            <c:ext xmlns:c16="http://schemas.microsoft.com/office/drawing/2014/chart" uri="{C3380CC4-5D6E-409C-BE32-E72D297353CC}">
              <c16:uniqueId val="{00000000-BB21-4525-AEE5-0A337EC60482}"/>
            </c:ext>
          </c:extLst>
        </c:ser>
        <c:ser>
          <c:idx val="1"/>
          <c:order val="1"/>
          <c:tx>
            <c:strRef>
              <c:f>Foglio1!$C$1</c:f>
              <c:strCache>
                <c:ptCount val="1"/>
                <c:pt idx="0">
                  <c:v>Sulfaniluree</c:v>
                </c:pt>
              </c:strCache>
            </c:strRef>
          </c:tx>
          <c:spPr>
            <a:gradFill rotWithShape="1">
              <a:gsLst>
                <a:gs pos="0">
                  <a:srgbClr val="FFC000"/>
                </a:gs>
                <a:gs pos="100000">
                  <a:srgbClr val="FFC000"/>
                </a:gs>
                <a:gs pos="100000">
                  <a:schemeClr val="accent2">
                    <a:lumMod val="99000"/>
                    <a:satMod val="120000"/>
                    <a:shade val="78000"/>
                  </a:schemeClr>
                </a:gs>
              </a:gsLst>
              <a:lin ang="5400000" scaled="0"/>
            </a:gradFill>
            <a:ln>
              <a:solidFill>
                <a:schemeClr val="accent1"/>
              </a:solidFill>
            </a:ln>
            <a:effectLst/>
            <a:scene3d>
              <a:camera prst="orthographicFront">
                <a:rot lat="0" lon="0" rev="0"/>
              </a:camera>
              <a:lightRig rig="threePt" dir="t"/>
            </a:scene3d>
            <a:sp3d>
              <a:bevelT w="25400" h="12700"/>
              <a:contourClr>
                <a:schemeClr val="accent1"/>
              </a:contourClr>
            </a:sp3d>
          </c:spPr>
          <c:invertIfNegative val="0"/>
          <c:cat>
            <c:strRef>
              <c:f>Foglio1!$A$2:$A$7</c:f>
              <c:strCache>
                <c:ptCount val="6"/>
                <c:pt idx="0">
                  <c:v>Spesa pro capite</c:v>
                </c:pt>
                <c:pt idx="1">
                  <c:v>variazione % 19-18</c:v>
                </c:pt>
                <c:pt idx="2">
                  <c:v>DDD/1000 ab die</c:v>
                </c:pt>
                <c:pt idx="3">
                  <c:v>variazione % 19-18</c:v>
                </c:pt>
                <c:pt idx="4">
                  <c:v>Costo medio DDD</c:v>
                </c:pt>
                <c:pt idx="5">
                  <c:v>variazione % 19-18</c:v>
                </c:pt>
              </c:strCache>
            </c:strRef>
          </c:cat>
          <c:val>
            <c:numRef>
              <c:f>Foglio1!$C$2:$C$7</c:f>
              <c:numCache>
                <c:formatCode>General</c:formatCode>
                <c:ptCount val="6"/>
                <c:pt idx="0">
                  <c:v>0.53</c:v>
                </c:pt>
                <c:pt idx="1">
                  <c:v>-5.2</c:v>
                </c:pt>
                <c:pt idx="2">
                  <c:v>8.4</c:v>
                </c:pt>
                <c:pt idx="3">
                  <c:v>-9.5</c:v>
                </c:pt>
                <c:pt idx="4">
                  <c:v>0.17</c:v>
                </c:pt>
                <c:pt idx="5">
                  <c:v>4.7</c:v>
                </c:pt>
              </c:numCache>
            </c:numRef>
          </c:val>
          <c:extLst>
            <c:ext xmlns:c16="http://schemas.microsoft.com/office/drawing/2014/chart" uri="{C3380CC4-5D6E-409C-BE32-E72D297353CC}">
              <c16:uniqueId val="{00000001-BB21-4525-AEE5-0A337EC60482}"/>
            </c:ext>
          </c:extLst>
        </c:ser>
        <c:ser>
          <c:idx val="2"/>
          <c:order val="2"/>
          <c:tx>
            <c:strRef>
              <c:f>Foglio1!$D$1</c:f>
              <c:strCache>
                <c:ptCount val="1"/>
                <c:pt idx="0">
                  <c:v>Glinidi</c:v>
                </c:pt>
              </c:strCache>
            </c:strRef>
          </c:tx>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a:scene3d>
              <a:camera prst="orthographicFront">
                <a:rot lat="0" lon="0" rev="0"/>
              </a:camera>
              <a:lightRig rig="threePt" dir="t"/>
            </a:scene3d>
            <a:sp3d>
              <a:bevelT w="25400" h="12700"/>
            </a:sp3d>
          </c:spPr>
          <c:invertIfNegative val="0"/>
          <c:cat>
            <c:strRef>
              <c:f>Foglio1!$A$2:$A$7</c:f>
              <c:strCache>
                <c:ptCount val="6"/>
                <c:pt idx="0">
                  <c:v>Spesa pro capite</c:v>
                </c:pt>
                <c:pt idx="1">
                  <c:v>variazione % 19-18</c:v>
                </c:pt>
                <c:pt idx="2">
                  <c:v>DDD/1000 ab die</c:v>
                </c:pt>
                <c:pt idx="3">
                  <c:v>variazione % 19-18</c:v>
                </c:pt>
                <c:pt idx="4">
                  <c:v>Costo medio DDD</c:v>
                </c:pt>
                <c:pt idx="5">
                  <c:v>variazione % 19-18</c:v>
                </c:pt>
              </c:strCache>
            </c:strRef>
          </c:cat>
          <c:val>
            <c:numRef>
              <c:f>Foglio1!$D$2:$D$7</c:f>
              <c:numCache>
                <c:formatCode>General</c:formatCode>
                <c:ptCount val="6"/>
                <c:pt idx="0">
                  <c:v>0.3</c:v>
                </c:pt>
                <c:pt idx="1">
                  <c:v>-14.9</c:v>
                </c:pt>
                <c:pt idx="2">
                  <c:v>2.2000000000000002</c:v>
                </c:pt>
                <c:pt idx="3">
                  <c:v>-16.100000000000001</c:v>
                </c:pt>
                <c:pt idx="4">
                  <c:v>0.38</c:v>
                </c:pt>
                <c:pt idx="5">
                  <c:v>1.4</c:v>
                </c:pt>
              </c:numCache>
            </c:numRef>
          </c:val>
          <c:extLst>
            <c:ext xmlns:c16="http://schemas.microsoft.com/office/drawing/2014/chart" uri="{C3380CC4-5D6E-409C-BE32-E72D297353CC}">
              <c16:uniqueId val="{00000002-BB21-4525-AEE5-0A337EC60482}"/>
            </c:ext>
          </c:extLst>
        </c:ser>
        <c:ser>
          <c:idx val="3"/>
          <c:order val="3"/>
          <c:tx>
            <c:strRef>
              <c:f>Foglio1!$E$1</c:f>
              <c:strCache>
                <c:ptCount val="1"/>
                <c:pt idx="0">
                  <c:v>Glitazonici</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scene3d>
              <a:camera prst="orthographicFront">
                <a:rot lat="0" lon="0" rev="0"/>
              </a:camera>
              <a:lightRig rig="threePt" dir="t"/>
            </a:scene3d>
            <a:sp3d>
              <a:bevelT w="25400" h="12700"/>
            </a:sp3d>
          </c:spPr>
          <c:invertIfNegative val="0"/>
          <c:cat>
            <c:strRef>
              <c:f>Foglio1!$A$2:$A$7</c:f>
              <c:strCache>
                <c:ptCount val="6"/>
                <c:pt idx="0">
                  <c:v>Spesa pro capite</c:v>
                </c:pt>
                <c:pt idx="1">
                  <c:v>variazione % 19-18</c:v>
                </c:pt>
                <c:pt idx="2">
                  <c:v>DDD/1000 ab die</c:v>
                </c:pt>
                <c:pt idx="3">
                  <c:v>variazione % 19-18</c:v>
                </c:pt>
                <c:pt idx="4">
                  <c:v>Costo medio DDD</c:v>
                </c:pt>
                <c:pt idx="5">
                  <c:v>variazione % 19-18</c:v>
                </c:pt>
              </c:strCache>
            </c:strRef>
          </c:cat>
          <c:val>
            <c:numRef>
              <c:f>Foglio1!$E$2:$E$7</c:f>
              <c:numCache>
                <c:formatCode>General</c:formatCode>
                <c:ptCount val="6"/>
                <c:pt idx="0">
                  <c:v>0.38</c:v>
                </c:pt>
                <c:pt idx="1">
                  <c:v>-19.600000000000001</c:v>
                </c:pt>
                <c:pt idx="2">
                  <c:v>1.7</c:v>
                </c:pt>
                <c:pt idx="3">
                  <c:v>-0.9</c:v>
                </c:pt>
                <c:pt idx="4">
                  <c:v>0.63</c:v>
                </c:pt>
                <c:pt idx="5">
                  <c:v>-18.899999999999999</c:v>
                </c:pt>
              </c:numCache>
            </c:numRef>
          </c:val>
          <c:extLst>
            <c:ext xmlns:c16="http://schemas.microsoft.com/office/drawing/2014/chart" uri="{C3380CC4-5D6E-409C-BE32-E72D297353CC}">
              <c16:uniqueId val="{00000003-BB21-4525-AEE5-0A337EC60482}"/>
            </c:ext>
          </c:extLst>
        </c:ser>
        <c:ser>
          <c:idx val="4"/>
          <c:order val="4"/>
          <c:tx>
            <c:strRef>
              <c:f>Foglio1!$F$1</c:f>
              <c:strCache>
                <c:ptCount val="1"/>
                <c:pt idx="0">
                  <c:v>Acarbosio</c:v>
                </c:pt>
              </c:strCache>
            </c:strRef>
          </c:tx>
          <c:spPr>
            <a:gradFill rotWithShape="1">
              <a:gsLst>
                <a:gs pos="0">
                  <a:schemeClr val="accent5">
                    <a:satMod val="103000"/>
                    <a:lumMod val="102000"/>
                    <a:tint val="94000"/>
                  </a:schemeClr>
                </a:gs>
                <a:gs pos="50000">
                  <a:schemeClr val="accent5">
                    <a:satMod val="110000"/>
                    <a:lumMod val="100000"/>
                    <a:shade val="100000"/>
                  </a:schemeClr>
                </a:gs>
                <a:gs pos="100000">
                  <a:schemeClr val="accent5">
                    <a:lumMod val="99000"/>
                    <a:satMod val="120000"/>
                    <a:shade val="78000"/>
                  </a:schemeClr>
                </a:gs>
              </a:gsLst>
              <a:lin ang="5400000" scaled="0"/>
            </a:gradFill>
            <a:ln>
              <a:noFill/>
            </a:ln>
            <a:effectLst/>
            <a:scene3d>
              <a:camera prst="orthographicFront">
                <a:rot lat="0" lon="0" rev="0"/>
              </a:camera>
              <a:lightRig rig="threePt" dir="t"/>
            </a:scene3d>
            <a:sp3d>
              <a:bevelT w="25400" h="12700"/>
            </a:sp3d>
          </c:spPr>
          <c:invertIfNegative val="0"/>
          <c:cat>
            <c:strRef>
              <c:f>Foglio1!$A$2:$A$7</c:f>
              <c:strCache>
                <c:ptCount val="6"/>
                <c:pt idx="0">
                  <c:v>Spesa pro capite</c:v>
                </c:pt>
                <c:pt idx="1">
                  <c:v>variazione % 19-18</c:v>
                </c:pt>
                <c:pt idx="2">
                  <c:v>DDD/1000 ab die</c:v>
                </c:pt>
                <c:pt idx="3">
                  <c:v>variazione % 19-18</c:v>
                </c:pt>
                <c:pt idx="4">
                  <c:v>Costo medio DDD</c:v>
                </c:pt>
                <c:pt idx="5">
                  <c:v>variazione % 19-18</c:v>
                </c:pt>
              </c:strCache>
            </c:strRef>
          </c:cat>
          <c:val>
            <c:numRef>
              <c:f>Foglio1!$F$2:$F$7</c:f>
              <c:numCache>
                <c:formatCode>General</c:formatCode>
                <c:ptCount val="6"/>
                <c:pt idx="0">
                  <c:v>0.16</c:v>
                </c:pt>
                <c:pt idx="1">
                  <c:v>-7.9</c:v>
                </c:pt>
                <c:pt idx="2">
                  <c:v>0.6</c:v>
                </c:pt>
                <c:pt idx="3">
                  <c:v>-6.8</c:v>
                </c:pt>
                <c:pt idx="4">
                  <c:v>0.73</c:v>
                </c:pt>
                <c:pt idx="5">
                  <c:v>-1.2</c:v>
                </c:pt>
              </c:numCache>
            </c:numRef>
          </c:val>
          <c:extLst>
            <c:ext xmlns:c16="http://schemas.microsoft.com/office/drawing/2014/chart" uri="{C3380CC4-5D6E-409C-BE32-E72D297353CC}">
              <c16:uniqueId val="{00000004-BB21-4525-AEE5-0A337EC60482}"/>
            </c:ext>
          </c:extLst>
        </c:ser>
        <c:dLbls>
          <c:showLegendKey val="0"/>
          <c:showVal val="0"/>
          <c:showCatName val="0"/>
          <c:showSerName val="0"/>
          <c:showPercent val="0"/>
          <c:showBubbleSize val="0"/>
        </c:dLbls>
        <c:gapWidth val="150"/>
        <c:shape val="box"/>
        <c:axId val="583628624"/>
        <c:axId val="583628296"/>
        <c:axId val="0"/>
      </c:bar3DChart>
      <c:catAx>
        <c:axId val="583628624"/>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it-IT"/>
          </a:p>
        </c:txPr>
        <c:crossAx val="583628296"/>
        <c:crosses val="autoZero"/>
        <c:auto val="1"/>
        <c:lblAlgn val="ctr"/>
        <c:lblOffset val="100"/>
        <c:noMultiLvlLbl val="0"/>
      </c:catAx>
      <c:valAx>
        <c:axId val="583628296"/>
        <c:scaling>
          <c:orientation val="minMax"/>
        </c:scaling>
        <c:delete val="0"/>
        <c:axPos val="l"/>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it-IT"/>
          </a:p>
        </c:txPr>
        <c:crossAx val="583628624"/>
        <c:crosses val="autoZero"/>
        <c:crossBetween val="between"/>
      </c:valAx>
      <c:dTable>
        <c:showHorzBorder val="1"/>
        <c:showVertBorder val="1"/>
        <c:showOutline val="1"/>
        <c:showKeys val="1"/>
        <c:spPr>
          <a:noFill/>
          <a:ln w="9525">
            <a:solidFill>
              <a:schemeClr val="tx2">
                <a:lumMod val="15000"/>
                <a:lumOff val="85000"/>
              </a:schemeClr>
            </a:solidFill>
          </a:ln>
          <a:effectLst/>
        </c:spPr>
        <c:txPr>
          <a:bodyPr rot="0" spcFirstLastPara="1" vertOverflow="ellipsis" vert="horz" wrap="square" anchor="ctr" anchorCtr="1"/>
          <a:lstStyle/>
          <a:p>
            <a:pPr rtl="0">
              <a:defRPr sz="900" b="0" i="0" u="none" strike="noStrike" kern="1200" baseline="0">
                <a:solidFill>
                  <a:schemeClr val="tx2"/>
                </a:solidFill>
                <a:latin typeface="+mn-lt"/>
                <a:ea typeface="+mn-ea"/>
                <a:cs typeface="+mn-cs"/>
              </a:defRPr>
            </a:pPr>
            <a:endParaRPr lang="it-IT"/>
          </a:p>
        </c:txPr>
      </c:dTable>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baseline="0">
                <a:solidFill>
                  <a:schemeClr val="tx2"/>
                </a:solidFill>
                <a:latin typeface="+mn-lt"/>
                <a:ea typeface="+mn-ea"/>
                <a:cs typeface="+mn-cs"/>
              </a:defRPr>
            </a:pPr>
            <a:r>
              <a:rPr lang="it-IT" dirty="0"/>
              <a:t>Prescrizioni di antidiabetici </a:t>
            </a:r>
            <a:r>
              <a:rPr lang="it-IT" dirty="0" smtClean="0"/>
              <a:t>recenti 2019 vs 2018</a:t>
            </a:r>
            <a:endParaRPr lang="it-IT" dirty="0"/>
          </a:p>
        </c:rich>
      </c:tx>
      <c:overlay val="0"/>
      <c:spPr>
        <a:noFill/>
        <a:ln>
          <a:noFill/>
        </a:ln>
        <a:effectLst/>
      </c:spPr>
      <c:txPr>
        <a:bodyPr rot="0" spcFirstLastPara="1" vertOverflow="ellipsis" vert="horz" wrap="square" anchor="ctr" anchorCtr="1"/>
        <a:lstStyle/>
        <a:p>
          <a:pPr>
            <a:defRPr sz="1600" b="1" i="0" u="none" strike="noStrike" kern="1200" baseline="0">
              <a:solidFill>
                <a:schemeClr val="tx2"/>
              </a:solidFill>
              <a:latin typeface="+mn-lt"/>
              <a:ea typeface="+mn-ea"/>
              <a:cs typeface="+mn-cs"/>
            </a:defRPr>
          </a:pPr>
          <a:endParaRPr lang="it-IT"/>
        </a:p>
      </c:tx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clustered"/>
        <c:varyColors val="0"/>
        <c:ser>
          <c:idx val="0"/>
          <c:order val="0"/>
          <c:tx>
            <c:strRef>
              <c:f>Foglio1!$B$1</c:f>
              <c:strCache>
                <c:ptCount val="1"/>
                <c:pt idx="0">
                  <c:v>GLP-1 AR</c:v>
                </c:pt>
              </c:strCache>
            </c:strRef>
          </c:tx>
          <c:spPr>
            <a:gradFill rotWithShape="1">
              <a:gsLst>
                <a:gs pos="100000">
                  <a:srgbClr val="FF0000"/>
                </a:gs>
                <a:gs pos="100000">
                  <a:srgbClr val="3399FF"/>
                </a:gs>
                <a:gs pos="100000">
                  <a:schemeClr val="accent1">
                    <a:lumMod val="99000"/>
                    <a:satMod val="120000"/>
                    <a:shade val="78000"/>
                  </a:schemeClr>
                </a:gs>
              </a:gsLst>
              <a:lin ang="5400000" scaled="0"/>
            </a:gradFill>
            <a:ln>
              <a:noFill/>
            </a:ln>
            <a:effectLst/>
            <a:scene3d>
              <a:camera prst="orthographicFront">
                <a:rot lat="0" lon="0" rev="0"/>
              </a:camera>
              <a:lightRig rig="threePt" dir="t"/>
            </a:scene3d>
            <a:sp3d>
              <a:bevelT w="25400" h="12700"/>
            </a:sp3d>
          </c:spPr>
          <c:invertIfNegative val="0"/>
          <c:cat>
            <c:strRef>
              <c:f>Foglio1!$A$2:$A$7</c:f>
              <c:strCache>
                <c:ptCount val="6"/>
                <c:pt idx="0">
                  <c:v>Spesa pro capite</c:v>
                </c:pt>
                <c:pt idx="1">
                  <c:v>variazione % 19-18</c:v>
                </c:pt>
                <c:pt idx="2">
                  <c:v>DDD/1000 AB die</c:v>
                </c:pt>
                <c:pt idx="3">
                  <c:v>variazione % 19-18</c:v>
                </c:pt>
                <c:pt idx="4">
                  <c:v>costo medio</c:v>
                </c:pt>
                <c:pt idx="5">
                  <c:v>variazione % 19-18</c:v>
                </c:pt>
              </c:strCache>
            </c:strRef>
          </c:cat>
          <c:val>
            <c:numRef>
              <c:f>Foglio1!$B$2:$B$7</c:f>
              <c:numCache>
                <c:formatCode>General</c:formatCode>
                <c:ptCount val="6"/>
                <c:pt idx="0">
                  <c:v>2.35</c:v>
                </c:pt>
                <c:pt idx="1">
                  <c:v>44.7</c:v>
                </c:pt>
                <c:pt idx="2">
                  <c:v>2.5</c:v>
                </c:pt>
                <c:pt idx="3">
                  <c:v>43.6</c:v>
                </c:pt>
                <c:pt idx="4">
                  <c:v>2.58</c:v>
                </c:pt>
                <c:pt idx="5">
                  <c:v>0.8</c:v>
                </c:pt>
              </c:numCache>
            </c:numRef>
          </c:val>
          <c:extLst>
            <c:ext xmlns:c16="http://schemas.microsoft.com/office/drawing/2014/chart" uri="{C3380CC4-5D6E-409C-BE32-E72D297353CC}">
              <c16:uniqueId val="{00000000-47BC-417C-B726-2FF0BDEA1359}"/>
            </c:ext>
          </c:extLst>
        </c:ser>
        <c:ser>
          <c:idx val="1"/>
          <c:order val="1"/>
          <c:tx>
            <c:strRef>
              <c:f>Foglio1!$C$1</c:f>
              <c:strCache>
                <c:ptCount val="1"/>
                <c:pt idx="0">
                  <c:v>DPP-4 i</c:v>
                </c:pt>
              </c:strCache>
            </c:strRef>
          </c:tx>
          <c:spPr>
            <a:gradFill rotWithShape="1">
              <a:gsLst>
                <a:gs pos="0">
                  <a:srgbClr val="3399FF"/>
                </a:gs>
                <a:gs pos="100000">
                  <a:srgbClr val="3399FF"/>
                </a:gs>
                <a:gs pos="100000">
                  <a:schemeClr val="accent2">
                    <a:lumMod val="99000"/>
                    <a:satMod val="120000"/>
                    <a:shade val="78000"/>
                  </a:schemeClr>
                </a:gs>
              </a:gsLst>
              <a:lin ang="5400000" scaled="0"/>
            </a:gradFill>
            <a:ln>
              <a:noFill/>
            </a:ln>
            <a:effectLst/>
            <a:scene3d>
              <a:camera prst="orthographicFront">
                <a:rot lat="0" lon="0" rev="0"/>
              </a:camera>
              <a:lightRig rig="threePt" dir="t"/>
            </a:scene3d>
            <a:sp3d>
              <a:bevelT w="25400" h="12700"/>
            </a:sp3d>
          </c:spPr>
          <c:invertIfNegative val="0"/>
          <c:cat>
            <c:strRef>
              <c:f>Foglio1!$A$2:$A$7</c:f>
              <c:strCache>
                <c:ptCount val="6"/>
                <c:pt idx="0">
                  <c:v>Spesa pro capite</c:v>
                </c:pt>
                <c:pt idx="1">
                  <c:v>variazione % 19-18</c:v>
                </c:pt>
                <c:pt idx="2">
                  <c:v>DDD/1000 AB die</c:v>
                </c:pt>
                <c:pt idx="3">
                  <c:v>variazione % 19-18</c:v>
                </c:pt>
                <c:pt idx="4">
                  <c:v>costo medio</c:v>
                </c:pt>
                <c:pt idx="5">
                  <c:v>variazione % 19-18</c:v>
                </c:pt>
              </c:strCache>
            </c:strRef>
          </c:cat>
          <c:val>
            <c:numRef>
              <c:f>Foglio1!$C$2:$C$7</c:f>
              <c:numCache>
                <c:formatCode>General</c:formatCode>
                <c:ptCount val="6"/>
                <c:pt idx="0">
                  <c:v>1.39</c:v>
                </c:pt>
                <c:pt idx="1">
                  <c:v>10.6</c:v>
                </c:pt>
                <c:pt idx="2">
                  <c:v>3</c:v>
                </c:pt>
                <c:pt idx="3">
                  <c:v>12.1</c:v>
                </c:pt>
                <c:pt idx="4">
                  <c:v>1.27</c:v>
                </c:pt>
                <c:pt idx="5">
                  <c:v>-1.4</c:v>
                </c:pt>
              </c:numCache>
            </c:numRef>
          </c:val>
          <c:extLst>
            <c:ext xmlns:c16="http://schemas.microsoft.com/office/drawing/2014/chart" uri="{C3380CC4-5D6E-409C-BE32-E72D297353CC}">
              <c16:uniqueId val="{00000001-47BC-417C-B726-2FF0BDEA1359}"/>
            </c:ext>
          </c:extLst>
        </c:ser>
        <c:ser>
          <c:idx val="2"/>
          <c:order val="2"/>
          <c:tx>
            <c:strRef>
              <c:f>Foglio1!$D$1</c:f>
              <c:strCache>
                <c:ptCount val="1"/>
                <c:pt idx="0">
                  <c:v>SGLT-2 i</c:v>
                </c:pt>
              </c:strCache>
            </c:strRef>
          </c:tx>
          <c:spPr>
            <a:gradFill rotWithShape="1">
              <a:gsLst>
                <a:gs pos="0">
                  <a:srgbClr val="FFFF00"/>
                </a:gs>
                <a:gs pos="100000">
                  <a:srgbClr val="FFFF00"/>
                </a:gs>
                <a:gs pos="100000">
                  <a:schemeClr val="accent3">
                    <a:lumMod val="99000"/>
                    <a:satMod val="120000"/>
                    <a:shade val="78000"/>
                  </a:schemeClr>
                </a:gs>
              </a:gsLst>
              <a:lin ang="5400000" scaled="0"/>
            </a:gradFill>
            <a:ln>
              <a:noFill/>
            </a:ln>
            <a:effectLst/>
            <a:scene3d>
              <a:camera prst="orthographicFront">
                <a:rot lat="0" lon="0" rev="0"/>
              </a:camera>
              <a:lightRig rig="threePt" dir="t"/>
            </a:scene3d>
            <a:sp3d>
              <a:bevelT w="25400" h="12700"/>
            </a:sp3d>
          </c:spPr>
          <c:invertIfNegative val="0"/>
          <c:cat>
            <c:strRef>
              <c:f>Foglio1!$A$2:$A$7</c:f>
              <c:strCache>
                <c:ptCount val="6"/>
                <c:pt idx="0">
                  <c:v>Spesa pro capite</c:v>
                </c:pt>
                <c:pt idx="1">
                  <c:v>variazione % 19-18</c:v>
                </c:pt>
                <c:pt idx="2">
                  <c:v>DDD/1000 AB die</c:v>
                </c:pt>
                <c:pt idx="3">
                  <c:v>variazione % 19-18</c:v>
                </c:pt>
                <c:pt idx="4">
                  <c:v>costo medio</c:v>
                </c:pt>
                <c:pt idx="5">
                  <c:v>variazione % 19-18</c:v>
                </c:pt>
              </c:strCache>
            </c:strRef>
          </c:cat>
          <c:val>
            <c:numRef>
              <c:f>Foglio1!$D$2:$D$7</c:f>
              <c:numCache>
                <c:formatCode>General</c:formatCode>
                <c:ptCount val="6"/>
                <c:pt idx="0">
                  <c:v>0.64</c:v>
                </c:pt>
                <c:pt idx="1">
                  <c:v>21.8</c:v>
                </c:pt>
                <c:pt idx="2">
                  <c:v>1.3</c:v>
                </c:pt>
                <c:pt idx="3">
                  <c:v>27.7</c:v>
                </c:pt>
                <c:pt idx="4">
                  <c:v>1.33</c:v>
                </c:pt>
                <c:pt idx="5">
                  <c:v>-4.5999999999999996</c:v>
                </c:pt>
              </c:numCache>
            </c:numRef>
          </c:val>
          <c:extLst>
            <c:ext xmlns:c16="http://schemas.microsoft.com/office/drawing/2014/chart" uri="{C3380CC4-5D6E-409C-BE32-E72D297353CC}">
              <c16:uniqueId val="{00000002-47BC-417C-B726-2FF0BDEA1359}"/>
            </c:ext>
          </c:extLst>
        </c:ser>
        <c:dLbls>
          <c:showLegendKey val="0"/>
          <c:showVal val="0"/>
          <c:showCatName val="0"/>
          <c:showSerName val="0"/>
          <c:showPercent val="0"/>
          <c:showBubbleSize val="0"/>
        </c:dLbls>
        <c:gapWidth val="150"/>
        <c:shape val="box"/>
        <c:axId val="536261360"/>
        <c:axId val="536260704"/>
        <c:axId val="0"/>
      </c:bar3DChart>
      <c:catAx>
        <c:axId val="536261360"/>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it-IT"/>
          </a:p>
        </c:txPr>
        <c:crossAx val="536260704"/>
        <c:crosses val="autoZero"/>
        <c:auto val="1"/>
        <c:lblAlgn val="ctr"/>
        <c:lblOffset val="100"/>
        <c:noMultiLvlLbl val="0"/>
      </c:catAx>
      <c:valAx>
        <c:axId val="536260704"/>
        <c:scaling>
          <c:orientation val="minMax"/>
        </c:scaling>
        <c:delete val="0"/>
        <c:axPos val="l"/>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it-IT"/>
          </a:p>
        </c:txPr>
        <c:crossAx val="536261360"/>
        <c:crosses val="autoZero"/>
        <c:crossBetween val="between"/>
      </c:valAx>
      <c:dTable>
        <c:showHorzBorder val="1"/>
        <c:showVertBorder val="1"/>
        <c:showOutline val="1"/>
        <c:showKeys val="1"/>
        <c:spPr>
          <a:noFill/>
          <a:ln w="9525">
            <a:solidFill>
              <a:schemeClr val="tx2">
                <a:lumMod val="15000"/>
                <a:lumOff val="85000"/>
              </a:schemeClr>
            </a:solidFill>
          </a:ln>
          <a:effectLst/>
        </c:spPr>
        <c:txPr>
          <a:bodyPr rot="0" spcFirstLastPara="1" vertOverflow="ellipsis" vert="horz" wrap="square" anchor="ctr" anchorCtr="1"/>
          <a:lstStyle/>
          <a:p>
            <a:pPr rtl="0">
              <a:defRPr sz="900" b="0" i="0" u="none" strike="noStrike" kern="1200" baseline="0">
                <a:solidFill>
                  <a:schemeClr val="tx2"/>
                </a:solidFill>
                <a:latin typeface="+mn-lt"/>
                <a:ea typeface="+mn-ea"/>
                <a:cs typeface="+mn-cs"/>
              </a:defRPr>
            </a:pPr>
            <a:endParaRPr lang="it-IT"/>
          </a:p>
        </c:txPr>
      </c:dTable>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oglio1!$B$1</c:f>
              <c:strCache>
                <c:ptCount val="1"/>
                <c:pt idx="0">
                  <c:v>t_100aa_pts</c:v>
                </c:pt>
              </c:strCache>
            </c:strRef>
          </c:tx>
          <c:spPr>
            <a:solidFill>
              <a:schemeClr val="accent1"/>
            </a:solidFill>
            <a:ln w="19050">
              <a:solidFill>
                <a:schemeClr val="tx1"/>
              </a:solidFill>
            </a:ln>
            <a:effectLst/>
          </c:spPr>
          <c:invertIfNegative val="0"/>
          <c:dPt>
            <c:idx val="0"/>
            <c:invertIfNegative val="0"/>
            <c:bubble3D val="0"/>
            <c:spPr>
              <a:solidFill>
                <a:srgbClr val="00A5CE"/>
              </a:solidFill>
              <a:ln w="19050">
                <a:solidFill>
                  <a:schemeClr val="tx1"/>
                </a:solidFill>
              </a:ln>
              <a:effectLst/>
            </c:spPr>
            <c:extLst>
              <c:ext xmlns:c16="http://schemas.microsoft.com/office/drawing/2014/chart" uri="{C3380CC4-5D6E-409C-BE32-E72D297353CC}">
                <c16:uniqueId val="{00000001-5D46-E74C-BCE1-1A7557B5A787}"/>
              </c:ext>
            </c:extLst>
          </c:dPt>
          <c:dPt>
            <c:idx val="1"/>
            <c:invertIfNegative val="0"/>
            <c:bubble3D val="0"/>
            <c:spPr>
              <a:solidFill>
                <a:srgbClr val="74BB23"/>
              </a:solidFill>
              <a:ln w="19050">
                <a:solidFill>
                  <a:schemeClr val="tx1"/>
                </a:solidFill>
              </a:ln>
              <a:effectLst/>
            </c:spPr>
            <c:extLst>
              <c:ext xmlns:c16="http://schemas.microsoft.com/office/drawing/2014/chart" uri="{C3380CC4-5D6E-409C-BE32-E72D297353CC}">
                <c16:uniqueId val="{00000003-5D46-E74C-BCE1-1A7557B5A787}"/>
              </c:ext>
            </c:extLst>
          </c:dPt>
          <c:dPt>
            <c:idx val="2"/>
            <c:invertIfNegative val="0"/>
            <c:bubble3D val="0"/>
            <c:spPr>
              <a:solidFill>
                <a:srgbClr val="4B7B17"/>
              </a:solidFill>
              <a:ln w="19050">
                <a:solidFill>
                  <a:schemeClr val="tx1"/>
                </a:solidFill>
              </a:ln>
              <a:effectLst/>
            </c:spPr>
            <c:extLst>
              <c:ext xmlns:c16="http://schemas.microsoft.com/office/drawing/2014/chart" uri="{C3380CC4-5D6E-409C-BE32-E72D297353CC}">
                <c16:uniqueId val="{00000005-5D46-E74C-BCE1-1A7557B5A787}"/>
              </c:ext>
            </c:extLst>
          </c:dPt>
          <c:dPt>
            <c:idx val="3"/>
            <c:invertIfNegative val="0"/>
            <c:bubble3D val="0"/>
            <c:spPr>
              <a:solidFill>
                <a:srgbClr val="00667E"/>
              </a:solidFill>
              <a:ln w="19050">
                <a:solidFill>
                  <a:schemeClr val="tx1"/>
                </a:solidFill>
              </a:ln>
              <a:effectLst/>
            </c:spPr>
            <c:extLst>
              <c:ext xmlns:c16="http://schemas.microsoft.com/office/drawing/2014/chart" uri="{C3380CC4-5D6E-409C-BE32-E72D297353CC}">
                <c16:uniqueId val="{00000007-5D46-E74C-BCE1-1A7557B5A787}"/>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it-IT"/>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A$2:$A$5</c:f>
              <c:strCache>
                <c:ptCount val="4"/>
                <c:pt idx="0">
                  <c:v>Sulf.</c:v>
                </c:pt>
                <c:pt idx="1">
                  <c:v>DPP4</c:v>
                </c:pt>
                <c:pt idx="2">
                  <c:v>SGLT2</c:v>
                </c:pt>
                <c:pt idx="3">
                  <c:v>GLP1</c:v>
                </c:pt>
              </c:strCache>
            </c:strRef>
          </c:cat>
          <c:val>
            <c:numRef>
              <c:f>Foglio1!$B$2:$B$5</c:f>
              <c:numCache>
                <c:formatCode>General</c:formatCode>
                <c:ptCount val="4"/>
                <c:pt idx="0">
                  <c:v>3.8</c:v>
                </c:pt>
                <c:pt idx="1">
                  <c:v>3.2</c:v>
                </c:pt>
                <c:pt idx="2">
                  <c:v>2.8</c:v>
                </c:pt>
                <c:pt idx="3">
                  <c:v>2.7</c:v>
                </c:pt>
              </c:numCache>
            </c:numRef>
          </c:val>
          <c:extLst>
            <c:ext xmlns:c16="http://schemas.microsoft.com/office/drawing/2014/chart" uri="{C3380CC4-5D6E-409C-BE32-E72D297353CC}">
              <c16:uniqueId val="{00000008-5D46-E74C-BCE1-1A7557B5A787}"/>
            </c:ext>
          </c:extLst>
        </c:ser>
        <c:dLbls>
          <c:showLegendKey val="0"/>
          <c:showVal val="0"/>
          <c:showCatName val="0"/>
          <c:showSerName val="0"/>
          <c:showPercent val="0"/>
          <c:showBubbleSize val="0"/>
        </c:dLbls>
        <c:gapWidth val="150"/>
        <c:axId val="786482080"/>
        <c:axId val="786471264"/>
      </c:barChart>
      <c:catAx>
        <c:axId val="786482080"/>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it-IT"/>
          </a:p>
        </c:txPr>
        <c:crossAx val="786471264"/>
        <c:crosses val="autoZero"/>
        <c:auto val="1"/>
        <c:lblAlgn val="ctr"/>
        <c:lblOffset val="100"/>
        <c:noMultiLvlLbl val="0"/>
      </c:catAx>
      <c:valAx>
        <c:axId val="786471264"/>
        <c:scaling>
          <c:orientation val="minMax"/>
          <c:max val="5"/>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it-IT"/>
          </a:p>
        </c:txPr>
        <c:crossAx val="786482080"/>
        <c:crosses val="autoZero"/>
        <c:crossBetween val="between"/>
        <c:maj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7">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11.xml><?xml version="1.0" encoding="utf-8"?>
<cs:chartStyle xmlns:cs="http://schemas.microsoft.com/office/drawing/2012/chartStyle" xmlns:a="http://schemas.openxmlformats.org/drawingml/2006/main" id="207">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12.xml><?xml version="1.0" encoding="utf-8"?>
<cs:chartStyle xmlns:cs="http://schemas.microsoft.com/office/drawing/2012/chartStyle" xmlns:a="http://schemas.openxmlformats.org/drawingml/2006/main" id="302">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13.xml><?xml version="1.0" encoding="utf-8"?>
<cs:chartStyle xmlns:cs="http://schemas.microsoft.com/office/drawing/2012/chartStyle" xmlns:a="http://schemas.openxmlformats.org/drawingml/2006/main" id="207">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0">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4.xml><?xml version="1.0" encoding="utf-8"?>
<cs:chartStyle xmlns:cs="http://schemas.microsoft.com/office/drawing/2012/chartStyle" xmlns:a="http://schemas.openxmlformats.org/drawingml/2006/main" id="290">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5.xml><?xml version="1.0" encoding="utf-8"?>
<cs:chartStyle xmlns:cs="http://schemas.microsoft.com/office/drawing/2012/chartStyle" xmlns:a="http://schemas.openxmlformats.org/drawingml/2006/main" id="290">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6.xml><?xml version="1.0" encoding="utf-8"?>
<cs:chartStyle xmlns:cs="http://schemas.microsoft.com/office/drawing/2012/chartStyle" xmlns:a="http://schemas.openxmlformats.org/drawingml/2006/main" id="290">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7.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7">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9.xml><?xml version="1.0" encoding="utf-8"?>
<cs:chartStyle xmlns:cs="http://schemas.microsoft.com/office/drawing/2012/chartStyle" xmlns:a="http://schemas.openxmlformats.org/drawingml/2006/main" id="205">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lt1"/>
    </cs:fontRef>
    <cs:defRPr sz="1197"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1197"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image" Target="../media/image24.emf"/></Relationships>
</file>

<file path=ppt/drawings/_rels/vmlDrawing2.v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28.emf"/><Relationship Id="rId1" Type="http://schemas.openxmlformats.org/officeDocument/2006/relationships/image" Target="../media/image2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9D7F39D-D83A-574F-8510-2A90E7253887}" type="datetimeFigureOut">
              <a:rPr lang="it-IT" smtClean="0"/>
              <a:t>26/04/2023</a:t>
            </a:fld>
            <a:endParaRPr lang="it-IT"/>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10B2CA5-AF6B-3C4C-8873-8B7CCF8C867A}" type="slidenum">
              <a:rPr lang="it-IT" smtClean="0"/>
              <a:t>‹N›</a:t>
            </a:fld>
            <a:endParaRPr lang="it-IT"/>
          </a:p>
        </p:txBody>
      </p:sp>
    </p:spTree>
    <p:extLst>
      <p:ext uri="{BB962C8B-B14F-4D97-AF65-F5344CB8AC3E}">
        <p14:creationId xmlns:p14="http://schemas.microsoft.com/office/powerpoint/2010/main" val="21986600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fld id="{010B2CA5-AF6B-3C4C-8873-8B7CCF8C867A}" type="slidenum">
              <a:rPr lang="it-IT" smtClean="0"/>
              <a:t>1</a:t>
            </a:fld>
            <a:endParaRPr lang="it-IT"/>
          </a:p>
        </p:txBody>
      </p:sp>
    </p:spTree>
    <p:extLst>
      <p:ext uri="{BB962C8B-B14F-4D97-AF65-F5344CB8AC3E}">
        <p14:creationId xmlns:p14="http://schemas.microsoft.com/office/powerpoint/2010/main" val="20324784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1" name="Segnaposto immagine diapositiva 1">
            <a:extLst>
              <a:ext uri="{FF2B5EF4-FFF2-40B4-BE49-F238E27FC236}">
                <a16:creationId xmlns:a16="http://schemas.microsoft.com/office/drawing/2014/main" id="{A7839C35-1120-6947-AF4E-4656A4CB8719}"/>
              </a:ext>
            </a:extLst>
          </p:cNvPr>
          <p:cNvSpPr>
            <a:spLocks noGrp="1" noRot="1" noChangeAspect="1" noChangeArrowheads="1" noTextEdit="1"/>
          </p:cNvSpPr>
          <p:nvPr>
            <p:ph type="sldImg"/>
          </p:nvPr>
        </p:nvSpPr>
        <p:spPr>
          <a:xfrm>
            <a:off x="341313" y="685800"/>
            <a:ext cx="6091237" cy="3427413"/>
          </a:xfrm>
        </p:spPr>
      </p:sp>
      <p:sp>
        <p:nvSpPr>
          <p:cNvPr id="133122" name="Segnaposto note 2">
            <a:extLst>
              <a:ext uri="{FF2B5EF4-FFF2-40B4-BE49-F238E27FC236}">
                <a16:creationId xmlns:a16="http://schemas.microsoft.com/office/drawing/2014/main" id="{3EEE4F05-A3D4-5341-8EAF-7FD1E001127A}"/>
              </a:ext>
            </a:extLst>
          </p:cNvPr>
          <p:cNvSpPr txBox="1">
            <a:spLocks noGrp="1" noChangeArrowheads="1"/>
          </p:cNvSpPr>
          <p:nvPr>
            <p:ph type="body" sz="quarter" idx="1"/>
          </p:nvPr>
        </p:nvSpPr>
        <p:spPr/>
        <p:txBody>
          <a:bodyPr/>
          <a:lstStyle/>
          <a:p>
            <a:pPr eaLnBrk="1"/>
            <a:endParaRPr altLang="it-IT">
              <a:latin typeface="Times New Roman" panose="02020603050405020304" pitchFamily="18" charset="0"/>
              <a:ea typeface="Microsoft YaHei" panose="020B0503020204020204" pitchFamily="34" charset="-122"/>
              <a:cs typeface="Arial" panose="020B0604020202020204" pitchFamily="34" charset="0"/>
            </a:endParaRPr>
          </a:p>
        </p:txBody>
      </p:sp>
      <p:sp>
        <p:nvSpPr>
          <p:cNvPr id="133123" name="Segnaposto numero diapositiva 3">
            <a:extLst>
              <a:ext uri="{FF2B5EF4-FFF2-40B4-BE49-F238E27FC236}">
                <a16:creationId xmlns:a16="http://schemas.microsoft.com/office/drawing/2014/main" id="{49DFA1DE-DCBE-5949-8A77-10826EF770C6}"/>
              </a:ext>
            </a:extLst>
          </p:cNvPr>
          <p:cNvSpPr txBox="1">
            <a:spLocks noChangeArrowheads="1"/>
          </p:cNvSpPr>
          <p:nvPr/>
        </p:nvSpPr>
        <p:spPr bwMode="auto">
          <a:xfrm>
            <a:off x="3886200" y="8686800"/>
            <a:ext cx="2887663"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4" tIns="46798" rIns="90004" bIns="46798" anchor="b"/>
          <a:lstStyle>
            <a:lvl1pPr>
              <a:spcBef>
                <a:spcPts val="45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200">
                <a:solidFill>
                  <a:srgbClr val="000000"/>
                </a:solidFill>
                <a:latin typeface="Times New Roman" panose="02020603050405020304" pitchFamily="18" charset="0"/>
                <a:ea typeface="Microsoft YaHei" panose="020B0503020204020204" pitchFamily="34" charset="-122"/>
                <a:cs typeface="Arial" panose="020B0604020202020204" pitchFamily="34" charset="0"/>
              </a:defRPr>
            </a:lvl1pPr>
            <a:lvl2pPr marL="742950" indent="-285750">
              <a:spcBef>
                <a:spcPct val="30000"/>
              </a:spcBef>
              <a:defRPr sz="1200">
                <a:solidFill>
                  <a:schemeClr val="tx1"/>
                </a:solidFill>
                <a:latin typeface="Calibri" panose="020F0502020204030204" pitchFamily="34" charset="0"/>
                <a:ea typeface="Microsoft YaHei" panose="020B0503020204020204" pitchFamily="34" charset="-122"/>
              </a:defRPr>
            </a:lvl2pPr>
            <a:lvl3pPr marL="1143000" indent="-228600">
              <a:spcBef>
                <a:spcPct val="30000"/>
              </a:spcBef>
              <a:defRPr sz="1200">
                <a:solidFill>
                  <a:schemeClr val="tx1"/>
                </a:solidFill>
                <a:latin typeface="Calibri" panose="020F0502020204030204" pitchFamily="34" charset="0"/>
                <a:ea typeface="Microsoft YaHei" panose="020B0503020204020204" pitchFamily="34" charset="-122"/>
              </a:defRPr>
            </a:lvl3pPr>
            <a:lvl4pPr marL="1600200" indent="-228600">
              <a:spcBef>
                <a:spcPct val="30000"/>
              </a:spcBef>
              <a:defRPr sz="1200">
                <a:solidFill>
                  <a:schemeClr val="tx1"/>
                </a:solidFill>
                <a:latin typeface="Calibri" panose="020F0502020204030204" pitchFamily="34" charset="0"/>
                <a:ea typeface="Microsoft YaHei" panose="020B0503020204020204" pitchFamily="34" charset="-122"/>
              </a:defRPr>
            </a:lvl4pPr>
            <a:lvl5pPr marL="2057400" indent="-228600">
              <a:spcBef>
                <a:spcPct val="30000"/>
              </a:spcBef>
              <a:defRPr sz="1200">
                <a:solidFill>
                  <a:schemeClr val="tx1"/>
                </a:solidFill>
                <a:latin typeface="Calibri" panose="020F0502020204030204" pitchFamily="34" charset="0"/>
                <a:ea typeface="Microsoft YaHei" panose="020B0503020204020204" pitchFamily="34" charset="-122"/>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9pPr>
          </a:lstStyle>
          <a:p>
            <a:pPr algn="r" eaLnBrk="1" hangingPunct="1">
              <a:spcBef>
                <a:spcPct val="0"/>
              </a:spcBef>
            </a:pPr>
            <a:fld id="{FDF75F0E-58B8-9749-9AFC-E883D7F9AD89}" type="slidenum">
              <a:rPr lang="it-IT" altLang="it-IT">
                <a:latin typeface="Arial" panose="020B0604020202020204" pitchFamily="34" charset="0"/>
                <a:ea typeface="ＭＳ Ｐゴシック" panose="020B0600070205080204" pitchFamily="34" charset="-128"/>
              </a:rPr>
              <a:pPr algn="r" eaLnBrk="1" hangingPunct="1">
                <a:spcBef>
                  <a:spcPct val="0"/>
                </a:spcBef>
              </a:pPr>
              <a:t>37</a:t>
            </a:fld>
            <a:endParaRPr lang="it-IT" altLang="it-IT">
              <a:latin typeface="Arial" panose="020B0604020202020204" pitchFamily="34" charset="0"/>
              <a:ea typeface="ＭＳ Ｐゴシック" panose="020B0600070205080204" pitchFamily="34" charset="-128"/>
            </a:endParaRPr>
          </a:p>
        </p:txBody>
      </p:sp>
    </p:spTree>
    <p:extLst>
      <p:ext uri="{BB962C8B-B14F-4D97-AF65-F5344CB8AC3E}">
        <p14:creationId xmlns:p14="http://schemas.microsoft.com/office/powerpoint/2010/main" val="16577539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69" name="Segnaposto immagine diapositiva 1">
            <a:extLst>
              <a:ext uri="{FF2B5EF4-FFF2-40B4-BE49-F238E27FC236}">
                <a16:creationId xmlns:a16="http://schemas.microsoft.com/office/drawing/2014/main" id="{1F4FFB82-7C64-444D-BE7B-573856C143A7}"/>
              </a:ext>
            </a:extLst>
          </p:cNvPr>
          <p:cNvSpPr>
            <a:spLocks noGrp="1" noRot="1" noChangeAspect="1" noChangeArrowheads="1" noTextEdit="1"/>
          </p:cNvSpPr>
          <p:nvPr>
            <p:ph type="sldImg"/>
          </p:nvPr>
        </p:nvSpPr>
        <p:spPr>
          <a:xfrm>
            <a:off x="341313" y="685800"/>
            <a:ext cx="6091237" cy="3427413"/>
          </a:xfrm>
        </p:spPr>
      </p:sp>
      <p:sp>
        <p:nvSpPr>
          <p:cNvPr id="135170" name="Segnaposto note 2">
            <a:extLst>
              <a:ext uri="{FF2B5EF4-FFF2-40B4-BE49-F238E27FC236}">
                <a16:creationId xmlns:a16="http://schemas.microsoft.com/office/drawing/2014/main" id="{B9EA4FFD-019B-9F48-BDFE-3023D04D5953}"/>
              </a:ext>
            </a:extLst>
          </p:cNvPr>
          <p:cNvSpPr txBox="1">
            <a:spLocks noGrp="1" noChangeArrowheads="1"/>
          </p:cNvSpPr>
          <p:nvPr>
            <p:ph type="body" sz="quarter" idx="1"/>
          </p:nvPr>
        </p:nvSpPr>
        <p:spPr/>
        <p:txBody>
          <a:bodyPr/>
          <a:lstStyle/>
          <a:p>
            <a:pPr eaLnBrk="1"/>
            <a:endParaRPr altLang="it-IT">
              <a:latin typeface="Times New Roman" panose="02020603050405020304" pitchFamily="18" charset="0"/>
              <a:ea typeface="Microsoft YaHei" panose="020B0503020204020204" pitchFamily="34" charset="-122"/>
              <a:cs typeface="Arial" panose="020B0604020202020204" pitchFamily="34" charset="0"/>
            </a:endParaRPr>
          </a:p>
        </p:txBody>
      </p:sp>
      <p:sp>
        <p:nvSpPr>
          <p:cNvPr id="135171" name="Segnaposto numero diapositiva 3">
            <a:extLst>
              <a:ext uri="{FF2B5EF4-FFF2-40B4-BE49-F238E27FC236}">
                <a16:creationId xmlns:a16="http://schemas.microsoft.com/office/drawing/2014/main" id="{E7F1EDF8-4E6E-9844-A8C0-E301FAE4CDB4}"/>
              </a:ext>
            </a:extLst>
          </p:cNvPr>
          <p:cNvSpPr txBox="1">
            <a:spLocks noChangeArrowheads="1"/>
          </p:cNvSpPr>
          <p:nvPr/>
        </p:nvSpPr>
        <p:spPr bwMode="auto">
          <a:xfrm>
            <a:off x="3886200" y="8686800"/>
            <a:ext cx="2887663"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4" tIns="46798" rIns="90004" bIns="46798" anchor="b"/>
          <a:lstStyle>
            <a:lvl1pPr>
              <a:spcBef>
                <a:spcPts val="45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200">
                <a:solidFill>
                  <a:srgbClr val="000000"/>
                </a:solidFill>
                <a:latin typeface="Times New Roman" panose="02020603050405020304" pitchFamily="18" charset="0"/>
                <a:ea typeface="Microsoft YaHei" panose="020B0503020204020204" pitchFamily="34" charset="-122"/>
                <a:cs typeface="Arial" panose="020B0604020202020204" pitchFamily="34" charset="0"/>
              </a:defRPr>
            </a:lvl1pPr>
            <a:lvl2pPr marL="742950" indent="-285750">
              <a:spcBef>
                <a:spcPct val="30000"/>
              </a:spcBef>
              <a:defRPr sz="1200">
                <a:solidFill>
                  <a:schemeClr val="tx1"/>
                </a:solidFill>
                <a:latin typeface="Calibri" panose="020F0502020204030204" pitchFamily="34" charset="0"/>
                <a:ea typeface="Microsoft YaHei" panose="020B0503020204020204" pitchFamily="34" charset="-122"/>
              </a:defRPr>
            </a:lvl2pPr>
            <a:lvl3pPr marL="1143000" indent="-228600">
              <a:spcBef>
                <a:spcPct val="30000"/>
              </a:spcBef>
              <a:defRPr sz="1200">
                <a:solidFill>
                  <a:schemeClr val="tx1"/>
                </a:solidFill>
                <a:latin typeface="Calibri" panose="020F0502020204030204" pitchFamily="34" charset="0"/>
                <a:ea typeface="Microsoft YaHei" panose="020B0503020204020204" pitchFamily="34" charset="-122"/>
              </a:defRPr>
            </a:lvl3pPr>
            <a:lvl4pPr marL="1600200" indent="-228600">
              <a:spcBef>
                <a:spcPct val="30000"/>
              </a:spcBef>
              <a:defRPr sz="1200">
                <a:solidFill>
                  <a:schemeClr val="tx1"/>
                </a:solidFill>
                <a:latin typeface="Calibri" panose="020F0502020204030204" pitchFamily="34" charset="0"/>
                <a:ea typeface="Microsoft YaHei" panose="020B0503020204020204" pitchFamily="34" charset="-122"/>
              </a:defRPr>
            </a:lvl4pPr>
            <a:lvl5pPr marL="2057400" indent="-228600">
              <a:spcBef>
                <a:spcPct val="30000"/>
              </a:spcBef>
              <a:defRPr sz="1200">
                <a:solidFill>
                  <a:schemeClr val="tx1"/>
                </a:solidFill>
                <a:latin typeface="Calibri" panose="020F0502020204030204" pitchFamily="34" charset="0"/>
                <a:ea typeface="Microsoft YaHei" panose="020B0503020204020204" pitchFamily="34" charset="-122"/>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9pPr>
          </a:lstStyle>
          <a:p>
            <a:pPr algn="r" eaLnBrk="1" hangingPunct="1">
              <a:spcBef>
                <a:spcPct val="0"/>
              </a:spcBef>
            </a:pPr>
            <a:fld id="{EF92251F-2A01-7349-887E-6581D09CF29A}" type="slidenum">
              <a:rPr lang="it-IT" altLang="it-IT">
                <a:latin typeface="Calibri" panose="020F0502020204030204" pitchFamily="34" charset="0"/>
                <a:ea typeface="ＭＳ Ｐゴシック" panose="020B0600070205080204" pitchFamily="34" charset="-128"/>
              </a:rPr>
              <a:pPr algn="r" eaLnBrk="1" hangingPunct="1">
                <a:spcBef>
                  <a:spcPct val="0"/>
                </a:spcBef>
              </a:pPr>
              <a:t>38</a:t>
            </a:fld>
            <a:endParaRPr lang="it-IT" altLang="it-IT">
              <a:latin typeface="Calibri" panose="020F0502020204030204" pitchFamily="34" charset="0"/>
              <a:ea typeface="ＭＳ Ｐゴシック" panose="020B0600070205080204" pitchFamily="34" charset="-128"/>
            </a:endParaRPr>
          </a:p>
        </p:txBody>
      </p:sp>
    </p:spTree>
    <p:extLst>
      <p:ext uri="{BB962C8B-B14F-4D97-AF65-F5344CB8AC3E}">
        <p14:creationId xmlns:p14="http://schemas.microsoft.com/office/powerpoint/2010/main" val="29784954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7"/>
          <p:cNvSpPr>
            <a:spLocks noGrp="1" noChangeArrowheads="1"/>
          </p:cNvSpPr>
          <p:nvPr>
            <p:ph type="sldNum" sz="quarter" idx="5"/>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967" tIns="46484" rIns="92967" bIns="46484"/>
          <a:lstStyle>
            <a:lvl1pPr>
              <a:spcBef>
                <a:spcPct val="30000"/>
              </a:spcBef>
              <a:defRPr sz="1200">
                <a:solidFill>
                  <a:schemeClr val="tx1"/>
                </a:solidFill>
                <a:latin typeface="Times New Roman" panose="02020603050405020304" pitchFamily="18" charset="0"/>
              </a:defRPr>
            </a:lvl1pPr>
            <a:lvl2pPr marL="755357" indent="-290522">
              <a:spcBef>
                <a:spcPct val="30000"/>
              </a:spcBef>
              <a:defRPr sz="1200">
                <a:solidFill>
                  <a:schemeClr val="tx1"/>
                </a:solidFill>
                <a:latin typeface="Times New Roman" panose="02020603050405020304" pitchFamily="18" charset="0"/>
              </a:defRPr>
            </a:lvl2pPr>
            <a:lvl3pPr marL="1162088" indent="-232418">
              <a:spcBef>
                <a:spcPct val="30000"/>
              </a:spcBef>
              <a:defRPr sz="1200">
                <a:solidFill>
                  <a:schemeClr val="tx1"/>
                </a:solidFill>
                <a:latin typeface="Times New Roman" panose="02020603050405020304" pitchFamily="18" charset="0"/>
              </a:defRPr>
            </a:lvl3pPr>
            <a:lvl4pPr marL="1626923" indent="-232418">
              <a:spcBef>
                <a:spcPct val="30000"/>
              </a:spcBef>
              <a:defRPr sz="1200">
                <a:solidFill>
                  <a:schemeClr val="tx1"/>
                </a:solidFill>
                <a:latin typeface="Times New Roman" panose="02020603050405020304" pitchFamily="18" charset="0"/>
              </a:defRPr>
            </a:lvl4pPr>
            <a:lvl5pPr marL="2091759" indent="-232418">
              <a:spcBef>
                <a:spcPct val="30000"/>
              </a:spcBef>
              <a:defRPr sz="1200">
                <a:solidFill>
                  <a:schemeClr val="tx1"/>
                </a:solidFill>
                <a:latin typeface="Times New Roman" panose="02020603050405020304" pitchFamily="18" charset="0"/>
              </a:defRPr>
            </a:lvl5pPr>
            <a:lvl6pPr marL="2556594" indent="-232418" eaLnBrk="0" fontAlgn="base" hangingPunct="0">
              <a:spcBef>
                <a:spcPct val="30000"/>
              </a:spcBef>
              <a:spcAft>
                <a:spcPct val="0"/>
              </a:spcAft>
              <a:defRPr sz="1200">
                <a:solidFill>
                  <a:schemeClr val="tx1"/>
                </a:solidFill>
                <a:latin typeface="Times New Roman" panose="02020603050405020304" pitchFamily="18" charset="0"/>
              </a:defRPr>
            </a:lvl6pPr>
            <a:lvl7pPr marL="3021429" indent="-232418" eaLnBrk="0" fontAlgn="base" hangingPunct="0">
              <a:spcBef>
                <a:spcPct val="30000"/>
              </a:spcBef>
              <a:spcAft>
                <a:spcPct val="0"/>
              </a:spcAft>
              <a:defRPr sz="1200">
                <a:solidFill>
                  <a:schemeClr val="tx1"/>
                </a:solidFill>
                <a:latin typeface="Times New Roman" panose="02020603050405020304" pitchFamily="18" charset="0"/>
              </a:defRPr>
            </a:lvl7pPr>
            <a:lvl8pPr marL="3486264" indent="-232418" eaLnBrk="0" fontAlgn="base" hangingPunct="0">
              <a:spcBef>
                <a:spcPct val="30000"/>
              </a:spcBef>
              <a:spcAft>
                <a:spcPct val="0"/>
              </a:spcAft>
              <a:defRPr sz="1200">
                <a:solidFill>
                  <a:schemeClr val="tx1"/>
                </a:solidFill>
                <a:latin typeface="Times New Roman" panose="02020603050405020304" pitchFamily="18" charset="0"/>
              </a:defRPr>
            </a:lvl8pPr>
            <a:lvl9pPr marL="3951100" indent="-232418" eaLnBrk="0" fontAlgn="base" hangingPunct="0">
              <a:spcBef>
                <a:spcPct val="30000"/>
              </a:spcBef>
              <a:spcAft>
                <a:spcPct val="0"/>
              </a:spcAft>
              <a:defRPr sz="1200">
                <a:solidFill>
                  <a:schemeClr val="tx1"/>
                </a:solidFill>
                <a:latin typeface="Times New Roman" panose="02020603050405020304" pitchFamily="18" charset="0"/>
              </a:defRPr>
            </a:lvl9pPr>
          </a:lstStyle>
          <a:p>
            <a:pPr marL="0" marR="0" lvl="0" indent="0" algn="r" defTabSz="464835" rtl="0" eaLnBrk="1" fontAlgn="auto" latinLnBrk="0" hangingPunct="1">
              <a:lnSpc>
                <a:spcPct val="100000"/>
              </a:lnSpc>
              <a:spcBef>
                <a:spcPct val="0"/>
              </a:spcBef>
              <a:spcAft>
                <a:spcPts val="0"/>
              </a:spcAft>
              <a:buClrTx/>
              <a:buSzTx/>
              <a:buFontTx/>
              <a:buNone/>
              <a:tabLst/>
              <a:defRPr/>
            </a:pPr>
            <a:fld id="{CA96DF9F-56A7-4657-8B47-CB6F01D611CF}" type="slidenum">
              <a:rPr kumimoji="0" lang="en-US" altLang="it-IT" sz="1200" b="0" i="0" u="none" strike="noStrike" kern="1200" cap="none" spc="0" normalizeH="0" baseline="0" noProof="0">
                <a:ln>
                  <a:noFill/>
                </a:ln>
                <a:solidFill>
                  <a:prstClr val="black"/>
                </a:solidFill>
                <a:effectLst/>
                <a:uLnTx/>
                <a:uFillTx/>
                <a:latin typeface="Times New Roman" panose="02020603050405020304" pitchFamily="18" charset="0"/>
                <a:ea typeface="+mn-ea"/>
                <a:cs typeface="+mn-cs"/>
              </a:rPr>
              <a:pPr marL="0" marR="0" lvl="0" indent="0" algn="r" defTabSz="464835" rtl="0" eaLnBrk="1" fontAlgn="auto" latinLnBrk="0" hangingPunct="1">
                <a:lnSpc>
                  <a:spcPct val="100000"/>
                </a:lnSpc>
                <a:spcBef>
                  <a:spcPct val="0"/>
                </a:spcBef>
                <a:spcAft>
                  <a:spcPts val="0"/>
                </a:spcAft>
                <a:buClrTx/>
                <a:buSzTx/>
                <a:buFontTx/>
                <a:buNone/>
                <a:tabLst/>
                <a:defRPr/>
              </a:pPr>
              <a:t>50</a:t>
            </a:fld>
            <a:endParaRPr kumimoji="0" lang="en-US" altLang="it-IT" sz="1200" b="0" i="0" u="none" strike="noStrike" kern="1200" cap="none" spc="0" normalizeH="0" baseline="0" noProof="0">
              <a:ln>
                <a:noFill/>
              </a:ln>
              <a:solidFill>
                <a:prstClr val="black"/>
              </a:solidFill>
              <a:effectLst/>
              <a:uLnTx/>
              <a:uFillTx/>
              <a:latin typeface="Times New Roman" panose="02020603050405020304" pitchFamily="18" charset="0"/>
              <a:ea typeface="+mn-ea"/>
              <a:cs typeface="+mn-cs"/>
            </a:endParaRPr>
          </a:p>
        </p:txBody>
      </p:sp>
      <p:sp>
        <p:nvSpPr>
          <p:cNvPr id="18435" name="Rectangle 2"/>
          <p:cNvSpPr>
            <a:spLocks noGrp="1" noRot="1" noChangeAspect="1" noChangeArrowheads="1" noTextEdit="1"/>
          </p:cNvSpPr>
          <p:nvPr>
            <p:ph type="sldImg"/>
          </p:nvPr>
        </p:nvSpPr>
        <p:spPr>
          <a:ln/>
        </p:spPr>
      </p:sp>
      <p:sp>
        <p:nvSpPr>
          <p:cNvPr id="18436" name="Rectangle 3"/>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it-IT" altLang="it-IT" dirty="0"/>
          </a:p>
        </p:txBody>
      </p:sp>
    </p:spTree>
    <p:extLst>
      <p:ext uri="{BB962C8B-B14F-4D97-AF65-F5344CB8AC3E}">
        <p14:creationId xmlns:p14="http://schemas.microsoft.com/office/powerpoint/2010/main" val="19217562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Tree>
    <p:extLst>
      <p:ext uri="{BB962C8B-B14F-4D97-AF65-F5344CB8AC3E}">
        <p14:creationId xmlns:p14="http://schemas.microsoft.com/office/powerpoint/2010/main" val="41023344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10B2CA5-AF6B-3C4C-8873-8B7CCF8C867A}"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2</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28248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7" name="Segnaposto piè di pagina 59">
            <a:extLst>
              <a:ext uri="{FF2B5EF4-FFF2-40B4-BE49-F238E27FC236}">
                <a16:creationId xmlns:a16="http://schemas.microsoft.com/office/drawing/2014/main" id="{7AF512E5-EF35-8E4D-BCCB-7119630B5BCC}"/>
              </a:ext>
            </a:extLst>
          </p:cNvPr>
          <p:cNvSpPr txBox="1">
            <a:spLocks noChangeArrowheads="1"/>
          </p:cNvSpPr>
          <p:nvPr/>
        </p:nvSpPr>
        <p:spPr bwMode="auto">
          <a:xfrm>
            <a:off x="0" y="8686800"/>
            <a:ext cx="2887663"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4" tIns="46798" rIns="90004" bIns="46798" anchor="b"/>
          <a:lstStyle>
            <a:lvl1pPr>
              <a:spcBef>
                <a:spcPts val="45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200">
                <a:solidFill>
                  <a:srgbClr val="000000"/>
                </a:solidFill>
                <a:latin typeface="Times New Roman" panose="02020603050405020304" pitchFamily="18" charset="0"/>
                <a:ea typeface="Microsoft YaHei" panose="020B0503020204020204" pitchFamily="34" charset="-122"/>
                <a:cs typeface="Arial" panose="020B0604020202020204" pitchFamily="34" charset="0"/>
              </a:defRPr>
            </a:lvl1pPr>
            <a:lvl2pPr marL="742950" indent="-285750">
              <a:spcBef>
                <a:spcPct val="30000"/>
              </a:spcBef>
              <a:defRPr sz="1200">
                <a:solidFill>
                  <a:schemeClr val="tx1"/>
                </a:solidFill>
                <a:latin typeface="Calibri" panose="020F0502020204030204" pitchFamily="34" charset="0"/>
                <a:ea typeface="Microsoft YaHei" panose="020B0503020204020204" pitchFamily="34" charset="-122"/>
              </a:defRPr>
            </a:lvl2pPr>
            <a:lvl3pPr marL="1143000" indent="-228600">
              <a:spcBef>
                <a:spcPct val="30000"/>
              </a:spcBef>
              <a:defRPr sz="1200">
                <a:solidFill>
                  <a:schemeClr val="tx1"/>
                </a:solidFill>
                <a:latin typeface="Calibri" panose="020F0502020204030204" pitchFamily="34" charset="0"/>
                <a:ea typeface="Microsoft YaHei" panose="020B0503020204020204" pitchFamily="34" charset="-122"/>
              </a:defRPr>
            </a:lvl3pPr>
            <a:lvl4pPr marL="1600200" indent="-228600">
              <a:spcBef>
                <a:spcPct val="30000"/>
              </a:spcBef>
              <a:defRPr sz="1200">
                <a:solidFill>
                  <a:schemeClr val="tx1"/>
                </a:solidFill>
                <a:latin typeface="Calibri" panose="020F0502020204030204" pitchFamily="34" charset="0"/>
                <a:ea typeface="Microsoft YaHei" panose="020B0503020204020204" pitchFamily="34" charset="-122"/>
              </a:defRPr>
            </a:lvl4pPr>
            <a:lvl5pPr marL="2057400" indent="-228600">
              <a:spcBef>
                <a:spcPct val="30000"/>
              </a:spcBef>
              <a:defRPr sz="1200">
                <a:solidFill>
                  <a:schemeClr val="tx1"/>
                </a:solidFill>
                <a:latin typeface="Calibri" panose="020F0502020204030204" pitchFamily="34" charset="0"/>
                <a:ea typeface="Microsoft YaHei" panose="020B0503020204020204" pitchFamily="34" charset="-122"/>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9pPr>
          </a:lstStyle>
          <a:p>
            <a:pPr eaLnBrk="1" hangingPunct="1">
              <a:lnSpc>
                <a:spcPct val="95000"/>
              </a:lnSpc>
              <a:spcBef>
                <a:spcPct val="0"/>
              </a:spcBef>
            </a:pPr>
            <a:r>
              <a:rPr lang="it-IT" altLang="it-IT"/>
              <a:t>FEBBRAIO 2008</a:t>
            </a:r>
          </a:p>
          <a:p>
            <a:pPr eaLnBrk="1" hangingPunct="1">
              <a:lnSpc>
                <a:spcPct val="95000"/>
              </a:lnSpc>
              <a:spcBef>
                <a:spcPct val="0"/>
              </a:spcBef>
            </a:pPr>
            <a:endParaRPr lang="it-IT" altLang="it-IT"/>
          </a:p>
        </p:txBody>
      </p:sp>
      <p:sp>
        <p:nvSpPr>
          <p:cNvPr id="96258" name="Segnaposto numero diapositiva 60">
            <a:extLst>
              <a:ext uri="{FF2B5EF4-FFF2-40B4-BE49-F238E27FC236}">
                <a16:creationId xmlns:a16="http://schemas.microsoft.com/office/drawing/2014/main" id="{8CB4BDA1-D443-8141-B68C-43D2398753F5}"/>
              </a:ext>
            </a:extLst>
          </p:cNvPr>
          <p:cNvSpPr txBox="1">
            <a:spLocks noChangeArrowheads="1"/>
          </p:cNvSpPr>
          <p:nvPr/>
        </p:nvSpPr>
        <p:spPr bwMode="auto">
          <a:xfrm>
            <a:off x="3886200" y="8686800"/>
            <a:ext cx="2887663"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4" tIns="46798" rIns="90004" bIns="46798" anchor="b"/>
          <a:lstStyle>
            <a:lvl1pPr>
              <a:spcBef>
                <a:spcPts val="45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200">
                <a:solidFill>
                  <a:srgbClr val="000000"/>
                </a:solidFill>
                <a:latin typeface="Times New Roman" panose="02020603050405020304" pitchFamily="18" charset="0"/>
                <a:ea typeface="Microsoft YaHei" panose="020B0503020204020204" pitchFamily="34" charset="-122"/>
                <a:cs typeface="Arial" panose="020B0604020202020204" pitchFamily="34" charset="0"/>
              </a:defRPr>
            </a:lvl1pPr>
            <a:lvl2pPr marL="742950" indent="-285750">
              <a:spcBef>
                <a:spcPct val="30000"/>
              </a:spcBef>
              <a:defRPr sz="1200">
                <a:solidFill>
                  <a:schemeClr val="tx1"/>
                </a:solidFill>
                <a:latin typeface="Calibri" panose="020F0502020204030204" pitchFamily="34" charset="0"/>
                <a:ea typeface="Microsoft YaHei" panose="020B0503020204020204" pitchFamily="34" charset="-122"/>
              </a:defRPr>
            </a:lvl2pPr>
            <a:lvl3pPr marL="1143000" indent="-228600">
              <a:spcBef>
                <a:spcPct val="30000"/>
              </a:spcBef>
              <a:defRPr sz="1200">
                <a:solidFill>
                  <a:schemeClr val="tx1"/>
                </a:solidFill>
                <a:latin typeface="Calibri" panose="020F0502020204030204" pitchFamily="34" charset="0"/>
                <a:ea typeface="Microsoft YaHei" panose="020B0503020204020204" pitchFamily="34" charset="-122"/>
              </a:defRPr>
            </a:lvl3pPr>
            <a:lvl4pPr marL="1600200" indent="-228600">
              <a:spcBef>
                <a:spcPct val="30000"/>
              </a:spcBef>
              <a:defRPr sz="1200">
                <a:solidFill>
                  <a:schemeClr val="tx1"/>
                </a:solidFill>
                <a:latin typeface="Calibri" panose="020F0502020204030204" pitchFamily="34" charset="0"/>
                <a:ea typeface="Microsoft YaHei" panose="020B0503020204020204" pitchFamily="34" charset="-122"/>
              </a:defRPr>
            </a:lvl4pPr>
            <a:lvl5pPr marL="2057400" indent="-228600">
              <a:spcBef>
                <a:spcPct val="30000"/>
              </a:spcBef>
              <a:defRPr sz="1200">
                <a:solidFill>
                  <a:schemeClr val="tx1"/>
                </a:solidFill>
                <a:latin typeface="Calibri" panose="020F0502020204030204" pitchFamily="34" charset="0"/>
                <a:ea typeface="Microsoft YaHei" panose="020B0503020204020204" pitchFamily="34" charset="-122"/>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9pPr>
          </a:lstStyle>
          <a:p>
            <a:pPr algn="r" eaLnBrk="1" hangingPunct="1">
              <a:lnSpc>
                <a:spcPct val="95000"/>
              </a:lnSpc>
              <a:spcBef>
                <a:spcPct val="0"/>
              </a:spcBef>
            </a:pPr>
            <a:fld id="{90F3DB86-D99D-254C-86FC-789B97F9E241}" type="slidenum">
              <a:rPr lang="en-GB" altLang="it-IT"/>
              <a:pPr algn="r" eaLnBrk="1" hangingPunct="1">
                <a:lnSpc>
                  <a:spcPct val="95000"/>
                </a:lnSpc>
                <a:spcBef>
                  <a:spcPct val="0"/>
                </a:spcBef>
              </a:pPr>
              <a:t>8</a:t>
            </a:fld>
            <a:endParaRPr lang="en-GB" altLang="it-IT"/>
          </a:p>
        </p:txBody>
      </p:sp>
      <p:sp>
        <p:nvSpPr>
          <p:cNvPr id="96259" name="Segnaposto immagine diapositiva 1">
            <a:extLst>
              <a:ext uri="{FF2B5EF4-FFF2-40B4-BE49-F238E27FC236}">
                <a16:creationId xmlns:a16="http://schemas.microsoft.com/office/drawing/2014/main" id="{07BF4EA9-168E-D746-908B-1B6E8C999E70}"/>
              </a:ext>
            </a:extLst>
          </p:cNvPr>
          <p:cNvSpPr>
            <a:spLocks noGrp="1" noRot="1" noChangeAspect="1" noTextEdit="1"/>
          </p:cNvSpPr>
          <p:nvPr>
            <p:ph type="sldImg"/>
          </p:nvPr>
        </p:nvSpPr>
        <p:spPr>
          <a:xfrm>
            <a:off x="341313" y="685800"/>
            <a:ext cx="6091237" cy="3427413"/>
          </a:xfrm>
          <a:solidFill>
            <a:srgbClr val="5B9BD5"/>
          </a:solidFill>
          <a:ln w="25402">
            <a:solidFill>
              <a:srgbClr val="41719C"/>
            </a:solidFill>
            <a:miter lim="800000"/>
            <a:headEnd/>
            <a:tailEnd/>
          </a:ln>
        </p:spPr>
      </p:sp>
      <p:sp>
        <p:nvSpPr>
          <p:cNvPr id="96260" name="Segnaposto note 2">
            <a:extLst>
              <a:ext uri="{FF2B5EF4-FFF2-40B4-BE49-F238E27FC236}">
                <a16:creationId xmlns:a16="http://schemas.microsoft.com/office/drawing/2014/main" id="{3E939202-3746-E04D-8F12-9FB8F4112D34}"/>
              </a:ext>
            </a:extLst>
          </p:cNvPr>
          <p:cNvSpPr txBox="1">
            <a:spLocks noGrp="1" noChangeArrowheads="1"/>
          </p:cNvSpPr>
          <p:nvPr>
            <p:ph type="body" sz="quarter" idx="1"/>
          </p:nvPr>
        </p:nvSpPr>
        <p:spPr/>
        <p:txBody>
          <a:bodyPr/>
          <a:lstStyle/>
          <a:p>
            <a:pPr eaLnBrk="1"/>
            <a:endParaRPr altLang="it-IT" dirty="0">
              <a:latin typeface="Times New Roman" panose="02020603050405020304" pitchFamily="18" charset="0"/>
              <a:ea typeface="Microsoft YaHei" panose="020B0503020204020204" pitchFamily="34" charset="-122"/>
              <a:cs typeface="Arial" panose="020B0604020202020204" pitchFamily="34" charset="0"/>
            </a:endParaRPr>
          </a:p>
        </p:txBody>
      </p:sp>
    </p:spTree>
    <p:extLst>
      <p:ext uri="{BB962C8B-B14F-4D97-AF65-F5344CB8AC3E}">
        <p14:creationId xmlns:p14="http://schemas.microsoft.com/office/powerpoint/2010/main" val="31716228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dirty="0"/>
              <a:t>C’è un atteggiamento molto individuali </a:t>
            </a:r>
          </a:p>
        </p:txBody>
      </p:sp>
      <p:sp>
        <p:nvSpPr>
          <p:cNvPr id="4" name="Segnaposto numero diapositiva 3"/>
          <p:cNvSpPr>
            <a:spLocks noGrp="1"/>
          </p:cNvSpPr>
          <p:nvPr>
            <p:ph type="sldNum" sz="quarter" idx="5"/>
          </p:nvPr>
        </p:nvSpPr>
        <p:spPr/>
        <p:txBody>
          <a:bodyPr/>
          <a:lstStyle/>
          <a:p>
            <a:fld id="{F7D0649B-B051-4520-8E40-06B4F9A2A522}" type="slidenum">
              <a:rPr lang="it-IT" smtClean="0"/>
              <a:t>9</a:t>
            </a:fld>
            <a:endParaRPr lang="it-IT"/>
          </a:p>
        </p:txBody>
      </p:sp>
    </p:spTree>
    <p:extLst>
      <p:ext uri="{BB962C8B-B14F-4D97-AF65-F5344CB8AC3E}">
        <p14:creationId xmlns:p14="http://schemas.microsoft.com/office/powerpoint/2010/main" val="24317826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3" name="Segnaposto piè di pagina 59">
            <a:extLst>
              <a:ext uri="{FF2B5EF4-FFF2-40B4-BE49-F238E27FC236}">
                <a16:creationId xmlns:a16="http://schemas.microsoft.com/office/drawing/2014/main" id="{959C149E-E4C6-D04A-A2E9-B6677BEC17D7}"/>
              </a:ext>
            </a:extLst>
          </p:cNvPr>
          <p:cNvSpPr txBox="1">
            <a:spLocks noChangeArrowheads="1"/>
          </p:cNvSpPr>
          <p:nvPr/>
        </p:nvSpPr>
        <p:spPr bwMode="auto">
          <a:xfrm>
            <a:off x="0" y="8686800"/>
            <a:ext cx="2887663"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4" tIns="46798" rIns="90004" bIns="46798" anchor="b"/>
          <a:lstStyle>
            <a:lvl1pPr>
              <a:spcBef>
                <a:spcPts val="45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200">
                <a:solidFill>
                  <a:srgbClr val="000000"/>
                </a:solidFill>
                <a:latin typeface="Times New Roman" panose="02020603050405020304" pitchFamily="18" charset="0"/>
                <a:ea typeface="Microsoft YaHei" panose="020B0503020204020204" pitchFamily="34" charset="-122"/>
                <a:cs typeface="Arial" panose="020B0604020202020204" pitchFamily="34" charset="0"/>
              </a:defRPr>
            </a:lvl1pPr>
            <a:lvl2pPr marL="742950" indent="-285750">
              <a:spcBef>
                <a:spcPct val="30000"/>
              </a:spcBef>
              <a:defRPr sz="1200">
                <a:solidFill>
                  <a:schemeClr val="tx1"/>
                </a:solidFill>
                <a:latin typeface="Calibri" panose="020F0502020204030204" pitchFamily="34" charset="0"/>
                <a:ea typeface="Microsoft YaHei" panose="020B0503020204020204" pitchFamily="34" charset="-122"/>
              </a:defRPr>
            </a:lvl2pPr>
            <a:lvl3pPr marL="1143000" indent="-228600">
              <a:spcBef>
                <a:spcPct val="30000"/>
              </a:spcBef>
              <a:defRPr sz="1200">
                <a:solidFill>
                  <a:schemeClr val="tx1"/>
                </a:solidFill>
                <a:latin typeface="Calibri" panose="020F0502020204030204" pitchFamily="34" charset="0"/>
                <a:ea typeface="Microsoft YaHei" panose="020B0503020204020204" pitchFamily="34" charset="-122"/>
              </a:defRPr>
            </a:lvl3pPr>
            <a:lvl4pPr marL="1600200" indent="-228600">
              <a:spcBef>
                <a:spcPct val="30000"/>
              </a:spcBef>
              <a:defRPr sz="1200">
                <a:solidFill>
                  <a:schemeClr val="tx1"/>
                </a:solidFill>
                <a:latin typeface="Calibri" panose="020F0502020204030204" pitchFamily="34" charset="0"/>
                <a:ea typeface="Microsoft YaHei" panose="020B0503020204020204" pitchFamily="34" charset="-122"/>
              </a:defRPr>
            </a:lvl4pPr>
            <a:lvl5pPr marL="2057400" indent="-228600">
              <a:spcBef>
                <a:spcPct val="30000"/>
              </a:spcBef>
              <a:defRPr sz="1200">
                <a:solidFill>
                  <a:schemeClr val="tx1"/>
                </a:solidFill>
                <a:latin typeface="Calibri" panose="020F0502020204030204" pitchFamily="34" charset="0"/>
                <a:ea typeface="Microsoft YaHei" panose="020B0503020204020204" pitchFamily="34" charset="-122"/>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9pPr>
          </a:lstStyle>
          <a:p>
            <a:pPr eaLnBrk="1" hangingPunct="1">
              <a:lnSpc>
                <a:spcPct val="95000"/>
              </a:lnSpc>
              <a:spcBef>
                <a:spcPct val="0"/>
              </a:spcBef>
            </a:pPr>
            <a:r>
              <a:rPr lang="it-IT" altLang="it-IT"/>
              <a:t>FEBBRAIO 2008</a:t>
            </a:r>
          </a:p>
          <a:p>
            <a:pPr eaLnBrk="1" hangingPunct="1">
              <a:lnSpc>
                <a:spcPct val="95000"/>
              </a:lnSpc>
              <a:spcBef>
                <a:spcPct val="0"/>
              </a:spcBef>
            </a:pPr>
            <a:endParaRPr lang="it-IT" altLang="it-IT"/>
          </a:p>
        </p:txBody>
      </p:sp>
      <p:sp>
        <p:nvSpPr>
          <p:cNvPr id="100354" name="Segnaposto numero diapositiva 60">
            <a:extLst>
              <a:ext uri="{FF2B5EF4-FFF2-40B4-BE49-F238E27FC236}">
                <a16:creationId xmlns:a16="http://schemas.microsoft.com/office/drawing/2014/main" id="{882CBE6C-6D95-6847-A248-F2B2A081B309}"/>
              </a:ext>
            </a:extLst>
          </p:cNvPr>
          <p:cNvSpPr txBox="1">
            <a:spLocks noChangeArrowheads="1"/>
          </p:cNvSpPr>
          <p:nvPr/>
        </p:nvSpPr>
        <p:spPr bwMode="auto">
          <a:xfrm>
            <a:off x="3886200" y="8686800"/>
            <a:ext cx="2887663"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4" tIns="46798" rIns="90004" bIns="46798" anchor="b"/>
          <a:lstStyle>
            <a:lvl1pPr>
              <a:spcBef>
                <a:spcPts val="45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200">
                <a:solidFill>
                  <a:srgbClr val="000000"/>
                </a:solidFill>
                <a:latin typeface="Times New Roman" panose="02020603050405020304" pitchFamily="18" charset="0"/>
                <a:ea typeface="Microsoft YaHei" panose="020B0503020204020204" pitchFamily="34" charset="-122"/>
                <a:cs typeface="Arial" panose="020B0604020202020204" pitchFamily="34" charset="0"/>
              </a:defRPr>
            </a:lvl1pPr>
            <a:lvl2pPr marL="742950" indent="-285750">
              <a:spcBef>
                <a:spcPct val="30000"/>
              </a:spcBef>
              <a:defRPr sz="1200">
                <a:solidFill>
                  <a:schemeClr val="tx1"/>
                </a:solidFill>
                <a:latin typeface="Calibri" panose="020F0502020204030204" pitchFamily="34" charset="0"/>
                <a:ea typeface="Microsoft YaHei" panose="020B0503020204020204" pitchFamily="34" charset="-122"/>
              </a:defRPr>
            </a:lvl2pPr>
            <a:lvl3pPr marL="1143000" indent="-228600">
              <a:spcBef>
                <a:spcPct val="30000"/>
              </a:spcBef>
              <a:defRPr sz="1200">
                <a:solidFill>
                  <a:schemeClr val="tx1"/>
                </a:solidFill>
                <a:latin typeface="Calibri" panose="020F0502020204030204" pitchFamily="34" charset="0"/>
                <a:ea typeface="Microsoft YaHei" panose="020B0503020204020204" pitchFamily="34" charset="-122"/>
              </a:defRPr>
            </a:lvl3pPr>
            <a:lvl4pPr marL="1600200" indent="-228600">
              <a:spcBef>
                <a:spcPct val="30000"/>
              </a:spcBef>
              <a:defRPr sz="1200">
                <a:solidFill>
                  <a:schemeClr val="tx1"/>
                </a:solidFill>
                <a:latin typeface="Calibri" panose="020F0502020204030204" pitchFamily="34" charset="0"/>
                <a:ea typeface="Microsoft YaHei" panose="020B0503020204020204" pitchFamily="34" charset="-122"/>
              </a:defRPr>
            </a:lvl4pPr>
            <a:lvl5pPr marL="2057400" indent="-228600">
              <a:spcBef>
                <a:spcPct val="30000"/>
              </a:spcBef>
              <a:defRPr sz="1200">
                <a:solidFill>
                  <a:schemeClr val="tx1"/>
                </a:solidFill>
                <a:latin typeface="Calibri" panose="020F0502020204030204" pitchFamily="34" charset="0"/>
                <a:ea typeface="Microsoft YaHei" panose="020B0503020204020204" pitchFamily="34" charset="-122"/>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9pPr>
          </a:lstStyle>
          <a:p>
            <a:pPr algn="r" eaLnBrk="1" hangingPunct="1">
              <a:lnSpc>
                <a:spcPct val="95000"/>
              </a:lnSpc>
              <a:spcBef>
                <a:spcPct val="0"/>
              </a:spcBef>
            </a:pPr>
            <a:fld id="{A2597B05-DC10-1C48-A176-28715C8F8D92}" type="slidenum">
              <a:rPr lang="en-GB" altLang="it-IT"/>
              <a:pPr algn="r" eaLnBrk="1" hangingPunct="1">
                <a:lnSpc>
                  <a:spcPct val="95000"/>
                </a:lnSpc>
                <a:spcBef>
                  <a:spcPct val="0"/>
                </a:spcBef>
              </a:pPr>
              <a:t>11</a:t>
            </a:fld>
            <a:endParaRPr lang="en-GB" altLang="it-IT"/>
          </a:p>
        </p:txBody>
      </p:sp>
      <p:sp>
        <p:nvSpPr>
          <p:cNvPr id="100355" name="Segnaposto immagine diapositiva 1">
            <a:extLst>
              <a:ext uri="{FF2B5EF4-FFF2-40B4-BE49-F238E27FC236}">
                <a16:creationId xmlns:a16="http://schemas.microsoft.com/office/drawing/2014/main" id="{485313A7-2121-1448-9CEF-71BF6ECAD975}"/>
              </a:ext>
            </a:extLst>
          </p:cNvPr>
          <p:cNvSpPr>
            <a:spLocks noGrp="1" noRot="1" noChangeAspect="1" noTextEdit="1"/>
          </p:cNvSpPr>
          <p:nvPr>
            <p:ph type="sldImg"/>
          </p:nvPr>
        </p:nvSpPr>
        <p:spPr>
          <a:xfrm>
            <a:off x="341313" y="685800"/>
            <a:ext cx="6091237" cy="3427413"/>
          </a:xfrm>
          <a:solidFill>
            <a:srgbClr val="5B9BD5"/>
          </a:solidFill>
          <a:ln w="25402">
            <a:solidFill>
              <a:srgbClr val="41719C"/>
            </a:solidFill>
            <a:miter lim="800000"/>
            <a:headEnd/>
            <a:tailEnd/>
          </a:ln>
        </p:spPr>
      </p:sp>
      <p:sp>
        <p:nvSpPr>
          <p:cNvPr id="100356" name="Segnaposto note 2">
            <a:extLst>
              <a:ext uri="{FF2B5EF4-FFF2-40B4-BE49-F238E27FC236}">
                <a16:creationId xmlns:a16="http://schemas.microsoft.com/office/drawing/2014/main" id="{201B97FC-F2AE-FE4F-BA4A-B4DF1AF043F8}"/>
              </a:ext>
            </a:extLst>
          </p:cNvPr>
          <p:cNvSpPr txBox="1">
            <a:spLocks noGrp="1" noChangeArrowheads="1"/>
          </p:cNvSpPr>
          <p:nvPr>
            <p:ph type="body" sz="quarter" idx="1"/>
          </p:nvPr>
        </p:nvSpPr>
        <p:spPr/>
        <p:txBody>
          <a:bodyPr/>
          <a:lstStyle/>
          <a:p>
            <a:pPr eaLnBrk="1"/>
            <a:endParaRPr altLang="it-IT" dirty="0">
              <a:latin typeface="Times New Roman" panose="02020603050405020304" pitchFamily="18" charset="0"/>
              <a:ea typeface="Microsoft YaHei" panose="020B0503020204020204" pitchFamily="34" charset="-122"/>
              <a:cs typeface="Arial" panose="020B0604020202020204" pitchFamily="34" charset="0"/>
            </a:endParaRPr>
          </a:p>
        </p:txBody>
      </p:sp>
    </p:spTree>
    <p:extLst>
      <p:ext uri="{BB962C8B-B14F-4D97-AF65-F5344CB8AC3E}">
        <p14:creationId xmlns:p14="http://schemas.microsoft.com/office/powerpoint/2010/main" val="28847201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6498" name="Rectangle 15">
            <a:extLst>
              <a:ext uri="{FF2B5EF4-FFF2-40B4-BE49-F238E27FC236}">
                <a16:creationId xmlns:a16="http://schemas.microsoft.com/office/drawing/2014/main" id="{6B848D0F-336E-C346-8377-D057E72FE831}"/>
              </a:ext>
            </a:extLst>
          </p:cNvPr>
          <p:cNvSpPr txBox="1">
            <a:spLocks noChangeArrowheads="1"/>
          </p:cNvSpPr>
          <p:nvPr/>
        </p:nvSpPr>
        <p:spPr bwMode="auto">
          <a:xfrm>
            <a:off x="3886200" y="8686800"/>
            <a:ext cx="2887663"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4" tIns="46798" rIns="90004" bIns="46798" anchor="b"/>
          <a:lstStyle>
            <a:lvl1pPr defTabSz="449263">
              <a:spcBef>
                <a:spcPts val="450"/>
              </a:spcBef>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sz="1200">
                <a:solidFill>
                  <a:srgbClr val="000000"/>
                </a:solidFill>
                <a:latin typeface="Times New Roman" panose="02020603050405020304" pitchFamily="18" charset="0"/>
                <a:ea typeface="Microsoft YaHei" panose="020B0503020204020204" pitchFamily="34" charset="-122"/>
                <a:cs typeface="Arial" panose="020B0604020202020204" pitchFamily="34" charset="0"/>
              </a:defRPr>
            </a:lvl1pPr>
            <a:lvl2pPr marL="742950" indent="-285750" defTabSz="449263">
              <a:spcBef>
                <a:spcPct val="30000"/>
              </a:spcBef>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sz="1200">
                <a:solidFill>
                  <a:schemeClr val="tx1"/>
                </a:solidFill>
                <a:latin typeface="Calibri" panose="020F0502020204030204" pitchFamily="34" charset="0"/>
                <a:ea typeface="Microsoft YaHei" panose="020B0503020204020204" pitchFamily="34" charset="-122"/>
              </a:defRPr>
            </a:lvl2pPr>
            <a:lvl3pPr marL="1143000" indent="-228600" defTabSz="449263">
              <a:spcBef>
                <a:spcPct val="30000"/>
              </a:spcBef>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sz="1200">
                <a:solidFill>
                  <a:schemeClr val="tx1"/>
                </a:solidFill>
                <a:latin typeface="Calibri" panose="020F0502020204030204" pitchFamily="34" charset="0"/>
                <a:ea typeface="Microsoft YaHei" panose="020B0503020204020204" pitchFamily="34" charset="-122"/>
              </a:defRPr>
            </a:lvl3pPr>
            <a:lvl4pPr marL="1600200" indent="-228600" defTabSz="449263">
              <a:spcBef>
                <a:spcPct val="30000"/>
              </a:spcBef>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sz="1200">
                <a:solidFill>
                  <a:schemeClr val="tx1"/>
                </a:solidFill>
                <a:latin typeface="Calibri" panose="020F0502020204030204" pitchFamily="34" charset="0"/>
                <a:ea typeface="Microsoft YaHei" panose="020B0503020204020204" pitchFamily="34" charset="-122"/>
              </a:defRPr>
            </a:lvl4pPr>
            <a:lvl5pPr marL="2057400" indent="-228600" defTabSz="449263">
              <a:spcBef>
                <a:spcPct val="30000"/>
              </a:spcBef>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sz="1200">
                <a:solidFill>
                  <a:schemeClr val="tx1"/>
                </a:solidFill>
                <a:latin typeface="Calibri" panose="020F0502020204030204" pitchFamily="34" charset="0"/>
                <a:ea typeface="Microsoft YaHei" panose="020B0503020204020204" pitchFamily="34" charset="-122"/>
              </a:defRPr>
            </a:lvl5pPr>
            <a:lvl6pPr marL="2514600" indent="-228600" defTabSz="449263" eaLnBrk="0" fontAlgn="base" hangingPunct="0">
              <a:spcBef>
                <a:spcPct val="30000"/>
              </a:spcBef>
              <a:spcAft>
                <a:spcPct val="0"/>
              </a:spcAft>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sz="1200">
                <a:solidFill>
                  <a:schemeClr val="tx1"/>
                </a:solidFill>
                <a:latin typeface="Calibri" panose="020F0502020204030204" pitchFamily="34" charset="0"/>
                <a:ea typeface="Microsoft YaHei" panose="020B0503020204020204" pitchFamily="34" charset="-122"/>
              </a:defRPr>
            </a:lvl6pPr>
            <a:lvl7pPr marL="2971800" indent="-228600" defTabSz="449263" eaLnBrk="0" fontAlgn="base" hangingPunct="0">
              <a:spcBef>
                <a:spcPct val="30000"/>
              </a:spcBef>
              <a:spcAft>
                <a:spcPct val="0"/>
              </a:spcAft>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sz="1200">
                <a:solidFill>
                  <a:schemeClr val="tx1"/>
                </a:solidFill>
                <a:latin typeface="Calibri" panose="020F0502020204030204" pitchFamily="34" charset="0"/>
                <a:ea typeface="Microsoft YaHei" panose="020B0503020204020204" pitchFamily="34" charset="-122"/>
              </a:defRPr>
            </a:lvl7pPr>
            <a:lvl8pPr marL="3429000" indent="-228600" defTabSz="449263" eaLnBrk="0" fontAlgn="base" hangingPunct="0">
              <a:spcBef>
                <a:spcPct val="30000"/>
              </a:spcBef>
              <a:spcAft>
                <a:spcPct val="0"/>
              </a:spcAft>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sz="1200">
                <a:solidFill>
                  <a:schemeClr val="tx1"/>
                </a:solidFill>
                <a:latin typeface="Calibri" panose="020F0502020204030204" pitchFamily="34" charset="0"/>
                <a:ea typeface="Microsoft YaHei" panose="020B0503020204020204" pitchFamily="34" charset="-122"/>
              </a:defRPr>
            </a:lvl8pPr>
            <a:lvl9pPr marL="3886200" indent="-228600" defTabSz="449263" eaLnBrk="0" fontAlgn="base" hangingPunct="0">
              <a:spcBef>
                <a:spcPct val="30000"/>
              </a:spcBef>
              <a:spcAft>
                <a:spcPct val="0"/>
              </a:spcAft>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sz="1200">
                <a:solidFill>
                  <a:schemeClr val="tx1"/>
                </a:solidFill>
                <a:latin typeface="Calibri" panose="020F0502020204030204" pitchFamily="34" charset="0"/>
                <a:ea typeface="Microsoft YaHei" panose="020B0503020204020204" pitchFamily="34" charset="-122"/>
              </a:defRPr>
            </a:lvl9pPr>
          </a:lstStyle>
          <a:p>
            <a:pPr algn="r" eaLnBrk="1">
              <a:spcBef>
                <a:spcPct val="0"/>
              </a:spcBef>
            </a:pPr>
            <a:fld id="{6D9F9785-EFD9-0341-91C0-1F82F8F25084}" type="slidenum">
              <a:rPr lang="en-GB" altLang="it-IT" b="1"/>
              <a:pPr algn="r" eaLnBrk="1">
                <a:spcBef>
                  <a:spcPct val="0"/>
                </a:spcBef>
              </a:pPr>
              <a:t>13</a:t>
            </a:fld>
            <a:endParaRPr lang="en-GB" altLang="it-IT" b="1"/>
          </a:p>
        </p:txBody>
      </p:sp>
      <p:sp>
        <p:nvSpPr>
          <p:cNvPr id="106499" name="Rectangle 1">
            <a:extLst>
              <a:ext uri="{FF2B5EF4-FFF2-40B4-BE49-F238E27FC236}">
                <a16:creationId xmlns:a16="http://schemas.microsoft.com/office/drawing/2014/main" id="{F47BCE40-4375-9E4D-910A-17C9E3297568}"/>
              </a:ext>
            </a:extLst>
          </p:cNvPr>
          <p:cNvSpPr>
            <a:spLocks noGrp="1" noRot="1" noChangeAspect="1" noChangeArrowheads="1" noTextEdit="1"/>
          </p:cNvSpPr>
          <p:nvPr>
            <p:ph type="sldImg"/>
          </p:nvPr>
        </p:nvSpPr>
        <p:spPr>
          <a:xfrm>
            <a:off x="96838" y="746125"/>
            <a:ext cx="6592887" cy="3709988"/>
          </a:xfrm>
          <a:solidFill>
            <a:srgbClr val="FFFFFF"/>
          </a:solidFill>
        </p:spPr>
      </p:sp>
      <p:sp>
        <p:nvSpPr>
          <p:cNvPr id="106500" name="Rectangle 2">
            <a:extLst>
              <a:ext uri="{FF2B5EF4-FFF2-40B4-BE49-F238E27FC236}">
                <a16:creationId xmlns:a16="http://schemas.microsoft.com/office/drawing/2014/main" id="{2E1456FF-46C6-054F-9C8F-0D8A4710716A}"/>
              </a:ext>
            </a:extLst>
          </p:cNvPr>
          <p:cNvSpPr txBox="1">
            <a:spLocks noGrp="1" noChangeArrowheads="1"/>
          </p:cNvSpPr>
          <p:nvPr>
            <p:ph type="body" sz="quarter" idx="1"/>
          </p:nvPr>
        </p:nvSpPr>
        <p:spPr>
          <a:xfrm>
            <a:off x="906463" y="4714875"/>
            <a:ext cx="4973637" cy="4454525"/>
          </a:xfrm>
        </p:spPr>
        <p:txBody>
          <a:bodyPr wrap="none" anchor="ctr"/>
          <a:lstStyle/>
          <a:p>
            <a:pPr eaLnBrk="1"/>
            <a:endParaRPr altLang="it-IT">
              <a:latin typeface="Times New Roman" panose="02020603050405020304" pitchFamily="18" charset="0"/>
              <a:ea typeface="Microsoft YaHei" panose="020B0503020204020204" pitchFamily="34" charset="-122"/>
              <a:cs typeface="Arial" panose="020B0604020202020204" pitchFamily="34" charset="0"/>
            </a:endParaRPr>
          </a:p>
        </p:txBody>
      </p:sp>
    </p:spTree>
    <p:extLst>
      <p:ext uri="{BB962C8B-B14F-4D97-AF65-F5344CB8AC3E}">
        <p14:creationId xmlns:p14="http://schemas.microsoft.com/office/powerpoint/2010/main" val="15420597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010B2CA5-AF6B-3C4C-8873-8B7CCF8C867A}" type="slidenum">
              <a:rPr lang="it-IT" smtClean="0"/>
              <a:t>23</a:t>
            </a:fld>
            <a:endParaRPr lang="it-IT"/>
          </a:p>
        </p:txBody>
      </p:sp>
    </p:spTree>
    <p:extLst>
      <p:ext uri="{BB962C8B-B14F-4D97-AF65-F5344CB8AC3E}">
        <p14:creationId xmlns:p14="http://schemas.microsoft.com/office/powerpoint/2010/main" val="32129092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3" name="Segnaposto immagine diapositiva 1">
            <a:extLst>
              <a:ext uri="{FF2B5EF4-FFF2-40B4-BE49-F238E27FC236}">
                <a16:creationId xmlns:a16="http://schemas.microsoft.com/office/drawing/2014/main" id="{E840CE5A-B30C-114E-ACCD-3E536504790A}"/>
              </a:ext>
            </a:extLst>
          </p:cNvPr>
          <p:cNvSpPr>
            <a:spLocks noGrp="1" noRot="1" noChangeAspect="1" noChangeArrowheads="1" noTextEdit="1"/>
          </p:cNvSpPr>
          <p:nvPr>
            <p:ph type="sldImg"/>
          </p:nvPr>
        </p:nvSpPr>
        <p:spPr>
          <a:xfrm>
            <a:off x="341313" y="685800"/>
            <a:ext cx="6091237" cy="3427413"/>
          </a:xfrm>
        </p:spPr>
      </p:sp>
      <p:sp>
        <p:nvSpPr>
          <p:cNvPr id="120834" name="Segnaposto note 2">
            <a:extLst>
              <a:ext uri="{FF2B5EF4-FFF2-40B4-BE49-F238E27FC236}">
                <a16:creationId xmlns:a16="http://schemas.microsoft.com/office/drawing/2014/main" id="{C53A95F8-D8E8-8D46-A787-BB7F10154803}"/>
              </a:ext>
            </a:extLst>
          </p:cNvPr>
          <p:cNvSpPr txBox="1">
            <a:spLocks noGrp="1" noChangeArrowheads="1"/>
          </p:cNvSpPr>
          <p:nvPr>
            <p:ph type="body" sz="quarter" idx="1"/>
          </p:nvPr>
        </p:nvSpPr>
        <p:spPr/>
        <p:txBody>
          <a:bodyPr/>
          <a:lstStyle/>
          <a:p>
            <a:pPr eaLnBrk="1"/>
            <a:endParaRPr altLang="it-IT">
              <a:latin typeface="Times New Roman" panose="02020603050405020304" pitchFamily="18" charset="0"/>
              <a:ea typeface="Microsoft YaHei" panose="020B0503020204020204" pitchFamily="34" charset="-122"/>
              <a:cs typeface="Arial" panose="020B0604020202020204" pitchFamily="34" charset="0"/>
            </a:endParaRPr>
          </a:p>
        </p:txBody>
      </p:sp>
      <p:sp>
        <p:nvSpPr>
          <p:cNvPr id="120835" name="Segnaposto numero diapositiva 3">
            <a:extLst>
              <a:ext uri="{FF2B5EF4-FFF2-40B4-BE49-F238E27FC236}">
                <a16:creationId xmlns:a16="http://schemas.microsoft.com/office/drawing/2014/main" id="{CC7D609E-83CD-794D-AD82-F332362C7A55}"/>
              </a:ext>
            </a:extLst>
          </p:cNvPr>
          <p:cNvSpPr txBox="1">
            <a:spLocks noChangeArrowheads="1"/>
          </p:cNvSpPr>
          <p:nvPr/>
        </p:nvSpPr>
        <p:spPr bwMode="auto">
          <a:xfrm>
            <a:off x="3886200" y="8686800"/>
            <a:ext cx="2887663"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4" tIns="46798" rIns="90004" bIns="46798" anchor="b"/>
          <a:lstStyle>
            <a:lvl1pPr>
              <a:spcBef>
                <a:spcPts val="45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200">
                <a:solidFill>
                  <a:srgbClr val="000000"/>
                </a:solidFill>
                <a:latin typeface="Times New Roman" panose="02020603050405020304" pitchFamily="18" charset="0"/>
                <a:ea typeface="Microsoft YaHei" panose="020B0503020204020204" pitchFamily="34" charset="-122"/>
                <a:cs typeface="Arial" panose="020B0604020202020204" pitchFamily="34" charset="0"/>
              </a:defRPr>
            </a:lvl1pPr>
            <a:lvl2pPr marL="742950" indent="-285750">
              <a:spcBef>
                <a:spcPct val="30000"/>
              </a:spcBef>
              <a:defRPr sz="1200">
                <a:solidFill>
                  <a:schemeClr val="tx1"/>
                </a:solidFill>
                <a:latin typeface="Calibri" panose="020F0502020204030204" pitchFamily="34" charset="0"/>
                <a:ea typeface="Microsoft YaHei" panose="020B0503020204020204" pitchFamily="34" charset="-122"/>
              </a:defRPr>
            </a:lvl2pPr>
            <a:lvl3pPr marL="1143000" indent="-228600">
              <a:spcBef>
                <a:spcPct val="30000"/>
              </a:spcBef>
              <a:defRPr sz="1200">
                <a:solidFill>
                  <a:schemeClr val="tx1"/>
                </a:solidFill>
                <a:latin typeface="Calibri" panose="020F0502020204030204" pitchFamily="34" charset="0"/>
                <a:ea typeface="Microsoft YaHei" panose="020B0503020204020204" pitchFamily="34" charset="-122"/>
              </a:defRPr>
            </a:lvl3pPr>
            <a:lvl4pPr marL="1600200" indent="-228600">
              <a:spcBef>
                <a:spcPct val="30000"/>
              </a:spcBef>
              <a:defRPr sz="1200">
                <a:solidFill>
                  <a:schemeClr val="tx1"/>
                </a:solidFill>
                <a:latin typeface="Calibri" panose="020F0502020204030204" pitchFamily="34" charset="0"/>
                <a:ea typeface="Microsoft YaHei" panose="020B0503020204020204" pitchFamily="34" charset="-122"/>
              </a:defRPr>
            </a:lvl4pPr>
            <a:lvl5pPr marL="2057400" indent="-228600">
              <a:spcBef>
                <a:spcPct val="30000"/>
              </a:spcBef>
              <a:defRPr sz="1200">
                <a:solidFill>
                  <a:schemeClr val="tx1"/>
                </a:solidFill>
                <a:latin typeface="Calibri" panose="020F0502020204030204" pitchFamily="34" charset="0"/>
                <a:ea typeface="Microsoft YaHei" panose="020B0503020204020204" pitchFamily="34" charset="-122"/>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9pPr>
          </a:lstStyle>
          <a:p>
            <a:pPr algn="r" eaLnBrk="1" hangingPunct="1">
              <a:spcBef>
                <a:spcPct val="0"/>
              </a:spcBef>
            </a:pPr>
            <a:fld id="{1889BA84-55A6-3741-B54C-C22BB907C7E3}" type="slidenum">
              <a:rPr lang="it-IT" altLang="it-IT">
                <a:latin typeface="Calibri" panose="020F0502020204030204" pitchFamily="34" charset="0"/>
                <a:ea typeface="ＭＳ Ｐゴシック" panose="020B0600070205080204" pitchFamily="34" charset="-128"/>
              </a:rPr>
              <a:pPr algn="r" eaLnBrk="1" hangingPunct="1">
                <a:spcBef>
                  <a:spcPct val="0"/>
                </a:spcBef>
              </a:pPr>
              <a:t>25</a:t>
            </a:fld>
            <a:endParaRPr lang="it-IT" altLang="it-IT">
              <a:latin typeface="Calibri" panose="020F0502020204030204" pitchFamily="34" charset="0"/>
              <a:ea typeface="ＭＳ Ｐゴシック" panose="020B0600070205080204" pitchFamily="34" charset="-128"/>
            </a:endParaRPr>
          </a:p>
        </p:txBody>
      </p:sp>
    </p:spTree>
    <p:extLst>
      <p:ext uri="{BB962C8B-B14F-4D97-AF65-F5344CB8AC3E}">
        <p14:creationId xmlns:p14="http://schemas.microsoft.com/office/powerpoint/2010/main" val="6589180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3" name="Segnaposto immagine diapositiva 1">
            <a:extLst>
              <a:ext uri="{FF2B5EF4-FFF2-40B4-BE49-F238E27FC236}">
                <a16:creationId xmlns:a16="http://schemas.microsoft.com/office/drawing/2014/main" id="{F9EA05ED-72FC-4D47-850B-84A03381DEB1}"/>
              </a:ext>
            </a:extLst>
          </p:cNvPr>
          <p:cNvSpPr>
            <a:spLocks noGrp="1" noRot="1" noChangeAspect="1" noChangeArrowheads="1" noTextEdit="1"/>
          </p:cNvSpPr>
          <p:nvPr>
            <p:ph type="sldImg"/>
          </p:nvPr>
        </p:nvSpPr>
        <p:spPr>
          <a:xfrm>
            <a:off x="341313" y="685800"/>
            <a:ext cx="6091237" cy="3427413"/>
          </a:xfrm>
        </p:spPr>
      </p:sp>
      <p:sp>
        <p:nvSpPr>
          <p:cNvPr id="125954" name="Segnaposto note 2">
            <a:extLst>
              <a:ext uri="{FF2B5EF4-FFF2-40B4-BE49-F238E27FC236}">
                <a16:creationId xmlns:a16="http://schemas.microsoft.com/office/drawing/2014/main" id="{CD02BD50-7E46-8E43-9325-CC9D49EF4FDB}"/>
              </a:ext>
            </a:extLst>
          </p:cNvPr>
          <p:cNvSpPr txBox="1">
            <a:spLocks noGrp="1" noChangeArrowheads="1"/>
          </p:cNvSpPr>
          <p:nvPr>
            <p:ph type="body" sz="quarter" idx="1"/>
          </p:nvPr>
        </p:nvSpPr>
        <p:spPr/>
        <p:txBody>
          <a:bodyPr/>
          <a:lstStyle/>
          <a:p>
            <a:pPr eaLnBrk="1"/>
            <a:endParaRPr altLang="it-IT">
              <a:latin typeface="Times New Roman" panose="02020603050405020304" pitchFamily="18" charset="0"/>
              <a:ea typeface="Microsoft YaHei" panose="020B0503020204020204" pitchFamily="34" charset="-122"/>
              <a:cs typeface="Arial" panose="020B0604020202020204" pitchFamily="34" charset="0"/>
            </a:endParaRPr>
          </a:p>
        </p:txBody>
      </p:sp>
      <p:sp>
        <p:nvSpPr>
          <p:cNvPr id="125955" name="Segnaposto numero diapositiva 3">
            <a:extLst>
              <a:ext uri="{FF2B5EF4-FFF2-40B4-BE49-F238E27FC236}">
                <a16:creationId xmlns:a16="http://schemas.microsoft.com/office/drawing/2014/main" id="{FA2495B7-8D32-1C42-ABEE-56F5AE930D1C}"/>
              </a:ext>
            </a:extLst>
          </p:cNvPr>
          <p:cNvSpPr txBox="1">
            <a:spLocks noChangeArrowheads="1"/>
          </p:cNvSpPr>
          <p:nvPr/>
        </p:nvSpPr>
        <p:spPr bwMode="auto">
          <a:xfrm>
            <a:off x="3886200" y="8686800"/>
            <a:ext cx="2887663"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4" tIns="46798" rIns="90004" bIns="46798" anchor="b"/>
          <a:lstStyle>
            <a:lvl1pPr>
              <a:spcBef>
                <a:spcPts val="45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200">
                <a:solidFill>
                  <a:srgbClr val="000000"/>
                </a:solidFill>
                <a:latin typeface="Times New Roman" panose="02020603050405020304" pitchFamily="18" charset="0"/>
                <a:ea typeface="Microsoft YaHei" panose="020B0503020204020204" pitchFamily="34" charset="-122"/>
                <a:cs typeface="Arial" panose="020B0604020202020204" pitchFamily="34" charset="0"/>
              </a:defRPr>
            </a:lvl1pPr>
            <a:lvl2pPr marL="742950" indent="-285750">
              <a:spcBef>
                <a:spcPct val="30000"/>
              </a:spcBef>
              <a:defRPr sz="1200">
                <a:solidFill>
                  <a:schemeClr val="tx1"/>
                </a:solidFill>
                <a:latin typeface="Calibri" panose="020F0502020204030204" pitchFamily="34" charset="0"/>
                <a:ea typeface="Microsoft YaHei" panose="020B0503020204020204" pitchFamily="34" charset="-122"/>
              </a:defRPr>
            </a:lvl2pPr>
            <a:lvl3pPr marL="1143000" indent="-228600">
              <a:spcBef>
                <a:spcPct val="30000"/>
              </a:spcBef>
              <a:defRPr sz="1200">
                <a:solidFill>
                  <a:schemeClr val="tx1"/>
                </a:solidFill>
                <a:latin typeface="Calibri" panose="020F0502020204030204" pitchFamily="34" charset="0"/>
                <a:ea typeface="Microsoft YaHei" panose="020B0503020204020204" pitchFamily="34" charset="-122"/>
              </a:defRPr>
            </a:lvl3pPr>
            <a:lvl4pPr marL="1600200" indent="-228600">
              <a:spcBef>
                <a:spcPct val="30000"/>
              </a:spcBef>
              <a:defRPr sz="1200">
                <a:solidFill>
                  <a:schemeClr val="tx1"/>
                </a:solidFill>
                <a:latin typeface="Calibri" panose="020F0502020204030204" pitchFamily="34" charset="0"/>
                <a:ea typeface="Microsoft YaHei" panose="020B0503020204020204" pitchFamily="34" charset="-122"/>
              </a:defRPr>
            </a:lvl4pPr>
            <a:lvl5pPr marL="2057400" indent="-228600">
              <a:spcBef>
                <a:spcPct val="30000"/>
              </a:spcBef>
              <a:defRPr sz="1200">
                <a:solidFill>
                  <a:schemeClr val="tx1"/>
                </a:solidFill>
                <a:latin typeface="Calibri" panose="020F0502020204030204" pitchFamily="34" charset="0"/>
                <a:ea typeface="Microsoft YaHei" panose="020B0503020204020204" pitchFamily="34" charset="-122"/>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9pPr>
          </a:lstStyle>
          <a:p>
            <a:pPr algn="r" eaLnBrk="1" hangingPunct="1">
              <a:spcBef>
                <a:spcPct val="0"/>
              </a:spcBef>
            </a:pPr>
            <a:fld id="{668DE417-C2E0-EE4F-8047-A76D33A72A17}" type="slidenum">
              <a:rPr lang="it-IT" altLang="it-IT">
                <a:latin typeface="Calibri" panose="020F0502020204030204" pitchFamily="34" charset="0"/>
                <a:ea typeface="ＭＳ Ｐゴシック" panose="020B0600070205080204" pitchFamily="34" charset="-128"/>
              </a:rPr>
              <a:pPr algn="r" eaLnBrk="1" hangingPunct="1">
                <a:spcBef>
                  <a:spcPct val="0"/>
                </a:spcBef>
              </a:pPr>
              <a:t>29</a:t>
            </a:fld>
            <a:endParaRPr lang="it-IT" altLang="it-IT">
              <a:latin typeface="Calibri" panose="020F0502020204030204" pitchFamily="34" charset="0"/>
              <a:ea typeface="ＭＳ Ｐゴシック" panose="020B0600070205080204" pitchFamily="34" charset="-128"/>
            </a:endParaRPr>
          </a:p>
        </p:txBody>
      </p:sp>
    </p:spTree>
    <p:extLst>
      <p:ext uri="{BB962C8B-B14F-4D97-AF65-F5344CB8AC3E}">
        <p14:creationId xmlns:p14="http://schemas.microsoft.com/office/powerpoint/2010/main" val="25713140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874" name="Rectangle 7"/>
          <p:cNvSpPr>
            <a:spLocks noGrp="1" noChangeArrowheads="1"/>
          </p:cNvSpPr>
          <p:nvPr>
            <p:ph type="sldNum" sz="quarter" idx="5"/>
          </p:nvPr>
        </p:nvSpPr>
        <p:spPr>
          <a:noFill/>
        </p:spPr>
        <p:txBody>
          <a:bodyPr/>
          <a:lstStyle>
            <a:lvl1pPr defTabSz="947738">
              <a:defRPr sz="1400">
                <a:solidFill>
                  <a:srgbClr val="0000FF"/>
                </a:solidFill>
                <a:latin typeface="Arial" panose="020B0604020202020204" pitchFamily="34" charset="0"/>
              </a:defRPr>
            </a:lvl1pPr>
            <a:lvl2pPr marL="742950" indent="-285750" defTabSz="947738">
              <a:defRPr sz="1400">
                <a:solidFill>
                  <a:srgbClr val="0000FF"/>
                </a:solidFill>
                <a:latin typeface="Arial" panose="020B0604020202020204" pitchFamily="34" charset="0"/>
              </a:defRPr>
            </a:lvl2pPr>
            <a:lvl3pPr marL="1143000" indent="-228600" defTabSz="947738">
              <a:defRPr sz="1400">
                <a:solidFill>
                  <a:srgbClr val="0000FF"/>
                </a:solidFill>
                <a:latin typeface="Arial" panose="020B0604020202020204" pitchFamily="34" charset="0"/>
              </a:defRPr>
            </a:lvl3pPr>
            <a:lvl4pPr marL="1600200" indent="-228600" defTabSz="947738">
              <a:defRPr sz="1400">
                <a:solidFill>
                  <a:srgbClr val="0000FF"/>
                </a:solidFill>
                <a:latin typeface="Arial" panose="020B0604020202020204" pitchFamily="34" charset="0"/>
              </a:defRPr>
            </a:lvl4pPr>
            <a:lvl5pPr marL="2057400" indent="-228600" defTabSz="947738">
              <a:defRPr sz="1400">
                <a:solidFill>
                  <a:srgbClr val="0000FF"/>
                </a:solidFill>
                <a:latin typeface="Arial" panose="020B0604020202020204" pitchFamily="34" charset="0"/>
              </a:defRPr>
            </a:lvl5pPr>
            <a:lvl6pPr marL="2514600" indent="-228600" defTabSz="947738" eaLnBrk="0" fontAlgn="base" hangingPunct="0">
              <a:spcBef>
                <a:spcPct val="0"/>
              </a:spcBef>
              <a:spcAft>
                <a:spcPct val="0"/>
              </a:spcAft>
              <a:defRPr sz="1400">
                <a:solidFill>
                  <a:srgbClr val="0000FF"/>
                </a:solidFill>
                <a:latin typeface="Arial" panose="020B0604020202020204" pitchFamily="34" charset="0"/>
              </a:defRPr>
            </a:lvl6pPr>
            <a:lvl7pPr marL="2971800" indent="-228600" defTabSz="947738" eaLnBrk="0" fontAlgn="base" hangingPunct="0">
              <a:spcBef>
                <a:spcPct val="0"/>
              </a:spcBef>
              <a:spcAft>
                <a:spcPct val="0"/>
              </a:spcAft>
              <a:defRPr sz="1400">
                <a:solidFill>
                  <a:srgbClr val="0000FF"/>
                </a:solidFill>
                <a:latin typeface="Arial" panose="020B0604020202020204" pitchFamily="34" charset="0"/>
              </a:defRPr>
            </a:lvl7pPr>
            <a:lvl8pPr marL="3429000" indent="-228600" defTabSz="947738" eaLnBrk="0" fontAlgn="base" hangingPunct="0">
              <a:spcBef>
                <a:spcPct val="0"/>
              </a:spcBef>
              <a:spcAft>
                <a:spcPct val="0"/>
              </a:spcAft>
              <a:defRPr sz="1400">
                <a:solidFill>
                  <a:srgbClr val="0000FF"/>
                </a:solidFill>
                <a:latin typeface="Arial" panose="020B0604020202020204" pitchFamily="34" charset="0"/>
              </a:defRPr>
            </a:lvl8pPr>
            <a:lvl9pPr marL="3886200" indent="-228600" defTabSz="947738" eaLnBrk="0" fontAlgn="base" hangingPunct="0">
              <a:spcBef>
                <a:spcPct val="0"/>
              </a:spcBef>
              <a:spcAft>
                <a:spcPct val="0"/>
              </a:spcAft>
              <a:defRPr sz="1400">
                <a:solidFill>
                  <a:srgbClr val="0000FF"/>
                </a:solidFill>
                <a:latin typeface="Arial" panose="020B0604020202020204" pitchFamily="34" charset="0"/>
              </a:defRPr>
            </a:lvl9pPr>
          </a:lstStyle>
          <a:p>
            <a:fld id="{C23BB5DC-937A-429A-9197-DE74D430B4E4}" type="slidenum">
              <a:rPr lang="it-IT" sz="1200" smtClean="0">
                <a:solidFill>
                  <a:schemeClr val="tx1"/>
                </a:solidFill>
              </a:rPr>
              <a:pPr/>
              <a:t>33</a:t>
            </a:fld>
            <a:endParaRPr lang="it-IT" sz="1200" smtClean="0">
              <a:solidFill>
                <a:schemeClr val="tx1"/>
              </a:solidFill>
            </a:endParaRPr>
          </a:p>
        </p:txBody>
      </p:sp>
      <p:sp>
        <p:nvSpPr>
          <p:cNvPr id="207875" name="Rectangle 2"/>
          <p:cNvSpPr>
            <a:spLocks noGrp="1" noRot="1" noChangeAspect="1" noChangeArrowheads="1" noTextEdit="1"/>
          </p:cNvSpPr>
          <p:nvPr>
            <p:ph type="sldImg"/>
          </p:nvPr>
        </p:nvSpPr>
        <p:spPr>
          <a:xfrm>
            <a:off x="90488" y="744538"/>
            <a:ext cx="6616700" cy="3722687"/>
          </a:xfrm>
          <a:ln/>
        </p:spPr>
      </p:sp>
      <p:sp>
        <p:nvSpPr>
          <p:cNvPr id="207876" name="Rectangle 3"/>
          <p:cNvSpPr>
            <a:spLocks noGrp="1" noChangeArrowheads="1"/>
          </p:cNvSpPr>
          <p:nvPr>
            <p:ph type="body" idx="1"/>
          </p:nvPr>
        </p:nvSpPr>
        <p:spPr>
          <a:noFill/>
        </p:spPr>
        <p:txBody>
          <a:bodyPr/>
          <a:lstStyle/>
          <a:p>
            <a:pPr eaLnBrk="1" hangingPunct="1"/>
            <a:r>
              <a:rPr lang="en-US" smtClean="0"/>
              <a:t>4018</a:t>
            </a:r>
            <a:endParaRPr lang="it-IT" smtClean="0"/>
          </a:p>
        </p:txBody>
      </p:sp>
    </p:spTree>
    <p:extLst>
      <p:ext uri="{BB962C8B-B14F-4D97-AF65-F5344CB8AC3E}">
        <p14:creationId xmlns:p14="http://schemas.microsoft.com/office/powerpoint/2010/main" val="360437904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pic>
        <p:nvPicPr>
          <p:cNvPr id="8" name="Picture 7" descr="C2-HD-BTM.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4375150"/>
            <a:ext cx="12192000" cy="2482850"/>
          </a:xfrm>
          <a:prstGeom prst="rect">
            <a:avLst/>
          </a:prstGeom>
        </p:spPr>
      </p:pic>
      <p:sp>
        <p:nvSpPr>
          <p:cNvPr id="2" name="Title 1"/>
          <p:cNvSpPr>
            <a:spLocks noGrp="1"/>
          </p:cNvSpPr>
          <p:nvPr>
            <p:ph type="ctrTitle"/>
          </p:nvPr>
        </p:nvSpPr>
        <p:spPr>
          <a:xfrm>
            <a:off x="1371600" y="1803405"/>
            <a:ext cx="9448800" cy="1825096"/>
          </a:xfrm>
        </p:spPr>
        <p:txBody>
          <a:bodyPr anchor="b">
            <a:normAutofit/>
          </a:bodyPr>
          <a:lstStyle>
            <a:lvl1pPr algn="l">
              <a:defRPr sz="6000"/>
            </a:lvl1pPr>
          </a:lstStyle>
          <a:p>
            <a:r>
              <a:rPr lang="it-IT"/>
              <a:t>Fare clic per modificare lo stile del titolo dello schema</a:t>
            </a:r>
            <a:endParaRPr lang="en-US" dirty="0"/>
          </a:p>
        </p:txBody>
      </p:sp>
      <p:sp>
        <p:nvSpPr>
          <p:cNvPr id="3" name="Subtitle 2"/>
          <p:cNvSpPr>
            <a:spLocks noGrp="1"/>
          </p:cNvSpPr>
          <p:nvPr>
            <p:ph type="subTitle" idx="1"/>
          </p:nvPr>
        </p:nvSpPr>
        <p:spPr>
          <a:xfrm>
            <a:off x="1371600" y="3632201"/>
            <a:ext cx="9448800" cy="685800"/>
          </a:xfrm>
        </p:spPr>
        <p:txBody>
          <a:bodyPr>
            <a:norm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endParaRPr lang="en-US" dirty="0"/>
          </a:p>
        </p:txBody>
      </p:sp>
      <p:sp>
        <p:nvSpPr>
          <p:cNvPr id="4" name="Date Placeholder 3"/>
          <p:cNvSpPr>
            <a:spLocks noGrp="1"/>
          </p:cNvSpPr>
          <p:nvPr>
            <p:ph type="dt" sz="half" idx="10"/>
          </p:nvPr>
        </p:nvSpPr>
        <p:spPr>
          <a:xfrm>
            <a:off x="7909561" y="4314328"/>
            <a:ext cx="2910840" cy="374642"/>
          </a:xfrm>
        </p:spPr>
        <p:txBody>
          <a:bodyPr/>
          <a:lstStyle/>
          <a:p>
            <a:fld id="{48A87A34-81AB-432B-8DAE-1953F412C126}" type="datetimeFigureOut">
              <a:rPr lang="en-US" smtClean="0"/>
              <a:t>4/26/2023</a:t>
            </a:fld>
            <a:endParaRPr lang="en-US" dirty="0"/>
          </a:p>
        </p:txBody>
      </p:sp>
      <p:sp>
        <p:nvSpPr>
          <p:cNvPr id="5" name="Footer Placeholder 4"/>
          <p:cNvSpPr>
            <a:spLocks noGrp="1"/>
          </p:cNvSpPr>
          <p:nvPr>
            <p:ph type="ftr" sz="quarter" idx="11"/>
          </p:nvPr>
        </p:nvSpPr>
        <p:spPr>
          <a:xfrm>
            <a:off x="1371600" y="4323845"/>
            <a:ext cx="6400800" cy="365125"/>
          </a:xfrm>
        </p:spPr>
        <p:txBody>
          <a:bodyPr/>
          <a:lstStyle/>
          <a:p>
            <a:endParaRPr lang="en-US" dirty="0"/>
          </a:p>
        </p:txBody>
      </p:sp>
      <p:sp>
        <p:nvSpPr>
          <p:cNvPr id="6" name="Slide Number Placeholder 5"/>
          <p:cNvSpPr>
            <a:spLocks noGrp="1"/>
          </p:cNvSpPr>
          <p:nvPr>
            <p:ph type="sldNum" sz="quarter" idx="12"/>
          </p:nvPr>
        </p:nvSpPr>
        <p:spPr>
          <a:xfrm>
            <a:off x="8077200" y="1430866"/>
            <a:ext cx="2743200" cy="365125"/>
          </a:xfrm>
        </p:spPr>
        <p:txBody>
          <a:bodyPr/>
          <a:lstStyle/>
          <a:p>
            <a:fld id="{6D22F896-40B5-4ADD-8801-0D06FADFA095}" type="slidenum">
              <a:rPr lang="en-US" smtClean="0"/>
              <a:t>‹N›</a:t>
            </a:fld>
            <a:endParaRPr lang="en-US" dirty="0"/>
          </a:p>
        </p:txBody>
      </p:sp>
    </p:spTree>
    <p:extLst>
      <p:ext uri="{BB962C8B-B14F-4D97-AF65-F5344CB8AC3E}">
        <p14:creationId xmlns:p14="http://schemas.microsoft.com/office/powerpoint/2010/main" val="18062719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Immagine panoramica con didascalia">
    <p:spTree>
      <p:nvGrpSpPr>
        <p:cNvPr id="1" name=""/>
        <p:cNvGrpSpPr/>
        <p:nvPr/>
      </p:nvGrpSpPr>
      <p:grpSpPr>
        <a:xfrm>
          <a:off x="0" y="0"/>
          <a:ext cx="0" cy="0"/>
          <a:chOff x="0" y="0"/>
          <a:chExt cx="0" cy="0"/>
        </a:xfrm>
      </p:grpSpPr>
      <p:sp>
        <p:nvSpPr>
          <p:cNvPr id="2" name="Title 1"/>
          <p:cNvSpPr>
            <a:spLocks noGrp="1"/>
          </p:cNvSpPr>
          <p:nvPr>
            <p:ph type="title"/>
          </p:nvPr>
        </p:nvSpPr>
        <p:spPr>
          <a:xfrm>
            <a:off x="685777" y="4697360"/>
            <a:ext cx="10822034" cy="819355"/>
          </a:xfrm>
        </p:spPr>
        <p:txBody>
          <a:bodyPr anchor="b"/>
          <a:lstStyle>
            <a:lvl1pPr algn="l">
              <a:defRPr sz="3200"/>
            </a:lvl1pPr>
          </a:lstStyle>
          <a:p>
            <a:r>
              <a:rPr lang="it-IT"/>
              <a:t>Fare clic per modificare lo stile del titolo dello schema</a:t>
            </a:r>
            <a:endParaRPr lang="en-US" dirty="0"/>
          </a:p>
        </p:txBody>
      </p:sp>
      <p:sp>
        <p:nvSpPr>
          <p:cNvPr id="3" name="Picture Placeholder 2"/>
          <p:cNvSpPr>
            <a:spLocks noGrp="1" noChangeAspect="1"/>
          </p:cNvSpPr>
          <p:nvPr>
            <p:ph type="pic" idx="1"/>
          </p:nvPr>
        </p:nvSpPr>
        <p:spPr>
          <a:xfrm>
            <a:off x="681727" y="941439"/>
            <a:ext cx="10821840" cy="3478161"/>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it-IT"/>
              <a:t>Fare clic sull'icona per inserire un'immagine</a:t>
            </a:r>
            <a:endParaRPr lang="en-US" dirty="0"/>
          </a:p>
        </p:txBody>
      </p:sp>
      <p:sp>
        <p:nvSpPr>
          <p:cNvPr id="4" name="Text Placeholder 3"/>
          <p:cNvSpPr>
            <a:spLocks noGrp="1"/>
          </p:cNvSpPr>
          <p:nvPr>
            <p:ph type="body" sz="half" idx="2"/>
          </p:nvPr>
        </p:nvSpPr>
        <p:spPr>
          <a:xfrm>
            <a:off x="685800" y="5516715"/>
            <a:ext cx="10820400" cy="701969"/>
          </a:xfrm>
        </p:spPr>
        <p:txBody>
          <a:bodyPr/>
          <a:lstStyle>
            <a:lvl1pPr marL="0" indent="0" algn="l">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Date Placeholder 4"/>
          <p:cNvSpPr>
            <a:spLocks noGrp="1"/>
          </p:cNvSpPr>
          <p:nvPr>
            <p:ph type="dt" sz="half" idx="10"/>
          </p:nvPr>
        </p:nvSpPr>
        <p:spPr/>
        <p:txBody>
          <a:bodyPr/>
          <a:lstStyle/>
          <a:p>
            <a:fld id="{48A87A34-81AB-432B-8DAE-1953F412C126}" type="datetimeFigureOut">
              <a:rPr lang="en-US" smtClean="0"/>
              <a:pPr/>
              <a:t>4/26/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smtClean="0"/>
              <a:pPr/>
              <a:t>‹N›</a:t>
            </a:fld>
            <a:endParaRPr lang="en-US" dirty="0"/>
          </a:p>
        </p:txBody>
      </p:sp>
    </p:spTree>
    <p:extLst>
      <p:ext uri="{BB962C8B-B14F-4D97-AF65-F5344CB8AC3E}">
        <p14:creationId xmlns:p14="http://schemas.microsoft.com/office/powerpoint/2010/main" val="10389049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Titolo e sottotitolo">
    <p:spTree>
      <p:nvGrpSpPr>
        <p:cNvPr id="1" name=""/>
        <p:cNvGrpSpPr/>
        <p:nvPr/>
      </p:nvGrpSpPr>
      <p:grpSpPr>
        <a:xfrm>
          <a:off x="0" y="0"/>
          <a:ext cx="0" cy="0"/>
          <a:chOff x="0" y="0"/>
          <a:chExt cx="0" cy="0"/>
        </a:xfrm>
      </p:grpSpPr>
      <p:pic>
        <p:nvPicPr>
          <p:cNvPr id="9" name="Picture 8" descr="C2-HD-BTM.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685800" y="753532"/>
            <a:ext cx="10820400" cy="2802467"/>
          </a:xfrm>
        </p:spPr>
        <p:txBody>
          <a:bodyPr anchor="ctr"/>
          <a:lstStyle>
            <a:lvl1pPr algn="l">
              <a:defRPr sz="3200"/>
            </a:lvl1pPr>
          </a:lstStyle>
          <a:p>
            <a:r>
              <a:rPr lang="it-IT"/>
              <a:t>Fare clic per modificare lo stile del titolo dello schema</a:t>
            </a:r>
            <a:endParaRPr lang="en-US" dirty="0"/>
          </a:p>
        </p:txBody>
      </p:sp>
      <p:sp>
        <p:nvSpPr>
          <p:cNvPr id="4" name="Text Placeholder 3"/>
          <p:cNvSpPr>
            <a:spLocks noGrp="1"/>
          </p:cNvSpPr>
          <p:nvPr>
            <p:ph type="body" sz="half" idx="2"/>
          </p:nvPr>
        </p:nvSpPr>
        <p:spPr>
          <a:xfrm>
            <a:off x="1024467" y="3649133"/>
            <a:ext cx="10130516" cy="999067"/>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Date Placeholder 4"/>
          <p:cNvSpPr>
            <a:spLocks noGrp="1"/>
          </p:cNvSpPr>
          <p:nvPr>
            <p:ph type="dt" sz="half" idx="10"/>
          </p:nvPr>
        </p:nvSpPr>
        <p:spPr>
          <a:xfrm>
            <a:off x="7814452" y="381000"/>
            <a:ext cx="2910840" cy="365125"/>
          </a:xfrm>
        </p:spPr>
        <p:txBody>
          <a:bodyPr/>
          <a:lstStyle>
            <a:lvl1pPr algn="r">
              <a:defRPr/>
            </a:lvl1pPr>
          </a:lstStyle>
          <a:p>
            <a:fld id="{48A87A34-81AB-432B-8DAE-1953F412C126}" type="datetimeFigureOut">
              <a:rPr lang="en-US" smtClean="0"/>
              <a:pPr/>
              <a:t>4/26/2023</a:t>
            </a:fld>
            <a:endParaRPr lang="en-US" dirty="0"/>
          </a:p>
        </p:txBody>
      </p:sp>
      <p:sp>
        <p:nvSpPr>
          <p:cNvPr id="6" name="Footer Placeholder 5"/>
          <p:cNvSpPr>
            <a:spLocks noGrp="1"/>
          </p:cNvSpPr>
          <p:nvPr>
            <p:ph type="ftr" sz="quarter" idx="11"/>
          </p:nvPr>
        </p:nvSpPr>
        <p:spPr>
          <a:xfrm>
            <a:off x="685800" y="379941"/>
            <a:ext cx="6991492" cy="365125"/>
          </a:xfrm>
        </p:spPr>
        <p:txBody>
          <a:bodyPr/>
          <a:lstStyle/>
          <a:p>
            <a:endParaRPr lang="en-US" dirty="0"/>
          </a:p>
        </p:txBody>
      </p:sp>
      <p:sp>
        <p:nvSpPr>
          <p:cNvPr id="7" name="Slide Number Placeholder 6"/>
          <p:cNvSpPr>
            <a:spLocks noGrp="1"/>
          </p:cNvSpPr>
          <p:nvPr>
            <p:ph type="sldNum" sz="quarter" idx="12"/>
          </p:nvPr>
        </p:nvSpPr>
        <p:spPr>
          <a:xfrm>
            <a:off x="10862452" y="381000"/>
            <a:ext cx="643748" cy="365125"/>
          </a:xfrm>
        </p:spPr>
        <p:txBody>
          <a:bodyPr/>
          <a:lstStyle/>
          <a:p>
            <a:fld id="{6D22F896-40B5-4ADD-8801-0D06FADFA095}" type="slidenum">
              <a:rPr lang="en-US" smtClean="0"/>
              <a:pPr/>
              <a:t>‹N›</a:t>
            </a:fld>
            <a:endParaRPr lang="en-US" dirty="0"/>
          </a:p>
        </p:txBody>
      </p:sp>
    </p:spTree>
    <p:extLst>
      <p:ext uri="{BB962C8B-B14F-4D97-AF65-F5344CB8AC3E}">
        <p14:creationId xmlns:p14="http://schemas.microsoft.com/office/powerpoint/2010/main" val="15027657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Citazione con didascalia">
    <p:spTree>
      <p:nvGrpSpPr>
        <p:cNvPr id="1" name=""/>
        <p:cNvGrpSpPr/>
        <p:nvPr/>
      </p:nvGrpSpPr>
      <p:grpSpPr>
        <a:xfrm>
          <a:off x="0" y="0"/>
          <a:ext cx="0" cy="0"/>
          <a:chOff x="0" y="0"/>
          <a:chExt cx="0" cy="0"/>
        </a:xfrm>
      </p:grpSpPr>
      <p:pic>
        <p:nvPicPr>
          <p:cNvPr id="11" name="Picture 10" descr="C2-HD-BTM.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1024467" y="753533"/>
            <a:ext cx="10151533" cy="2604495"/>
          </a:xfrm>
        </p:spPr>
        <p:txBody>
          <a:bodyPr anchor="ctr"/>
          <a:lstStyle>
            <a:lvl1pPr algn="l">
              <a:defRPr sz="3200"/>
            </a:lvl1pPr>
          </a:lstStyle>
          <a:p>
            <a:r>
              <a:rPr lang="it-IT"/>
              <a:t>Fare clic per modificare lo stile del titolo dello schema</a:t>
            </a:r>
            <a:endParaRPr lang="en-US" dirty="0"/>
          </a:p>
        </p:txBody>
      </p:sp>
      <p:sp>
        <p:nvSpPr>
          <p:cNvPr id="12" name="Text Placeholder 3"/>
          <p:cNvSpPr>
            <a:spLocks noGrp="1"/>
          </p:cNvSpPr>
          <p:nvPr>
            <p:ph type="body" sz="half" idx="13"/>
          </p:nvPr>
        </p:nvSpPr>
        <p:spPr>
          <a:xfrm>
            <a:off x="1303865" y="3365556"/>
            <a:ext cx="9592736" cy="444443"/>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4" name="Text Placeholder 3"/>
          <p:cNvSpPr>
            <a:spLocks noGrp="1"/>
          </p:cNvSpPr>
          <p:nvPr>
            <p:ph type="body" sz="half" idx="2"/>
          </p:nvPr>
        </p:nvSpPr>
        <p:spPr>
          <a:xfrm>
            <a:off x="1024467" y="3959862"/>
            <a:ext cx="10151533" cy="679871"/>
          </a:xfrm>
        </p:spPr>
        <p:txBody>
          <a:bodyPr anchor="ct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Date Placeholder 4"/>
          <p:cNvSpPr>
            <a:spLocks noGrp="1"/>
          </p:cNvSpPr>
          <p:nvPr>
            <p:ph type="dt" sz="half" idx="10"/>
          </p:nvPr>
        </p:nvSpPr>
        <p:spPr>
          <a:xfrm>
            <a:off x="7814452" y="381000"/>
            <a:ext cx="2910840" cy="365125"/>
          </a:xfrm>
        </p:spPr>
        <p:txBody>
          <a:bodyPr/>
          <a:lstStyle>
            <a:lvl1pPr algn="r">
              <a:defRPr/>
            </a:lvl1pPr>
          </a:lstStyle>
          <a:p>
            <a:fld id="{48A87A34-81AB-432B-8DAE-1953F412C126}" type="datetimeFigureOut">
              <a:rPr lang="en-US" smtClean="0"/>
              <a:pPr/>
              <a:t>4/26/2023</a:t>
            </a:fld>
            <a:endParaRPr lang="en-US" dirty="0"/>
          </a:p>
        </p:txBody>
      </p:sp>
      <p:sp>
        <p:nvSpPr>
          <p:cNvPr id="6" name="Footer Placeholder 5"/>
          <p:cNvSpPr>
            <a:spLocks noGrp="1"/>
          </p:cNvSpPr>
          <p:nvPr>
            <p:ph type="ftr" sz="quarter" idx="11"/>
          </p:nvPr>
        </p:nvSpPr>
        <p:spPr>
          <a:xfrm>
            <a:off x="685800" y="379941"/>
            <a:ext cx="6991492" cy="365125"/>
          </a:xfrm>
        </p:spPr>
        <p:txBody>
          <a:bodyPr/>
          <a:lstStyle/>
          <a:p>
            <a:endParaRPr lang="en-US" dirty="0"/>
          </a:p>
        </p:txBody>
      </p:sp>
      <p:sp>
        <p:nvSpPr>
          <p:cNvPr id="7" name="Slide Number Placeholder 6"/>
          <p:cNvSpPr>
            <a:spLocks noGrp="1"/>
          </p:cNvSpPr>
          <p:nvPr>
            <p:ph type="sldNum" sz="quarter" idx="12"/>
          </p:nvPr>
        </p:nvSpPr>
        <p:spPr>
          <a:xfrm>
            <a:off x="10862452" y="381000"/>
            <a:ext cx="643748" cy="365125"/>
          </a:xfrm>
        </p:spPr>
        <p:txBody>
          <a:bodyPr/>
          <a:lstStyle/>
          <a:p>
            <a:fld id="{6D22F896-40B5-4ADD-8801-0D06FADFA095}" type="slidenum">
              <a:rPr lang="en-US" smtClean="0"/>
              <a:pPr/>
              <a:t>‹N›</a:t>
            </a:fld>
            <a:endParaRPr lang="en-US" dirty="0"/>
          </a:p>
        </p:txBody>
      </p:sp>
      <p:sp>
        <p:nvSpPr>
          <p:cNvPr id="9" name="TextBox 8"/>
          <p:cNvSpPr txBox="1"/>
          <p:nvPr/>
        </p:nvSpPr>
        <p:spPr>
          <a:xfrm>
            <a:off x="476250" y="933450"/>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8000" dirty="0">
                <a:solidFill>
                  <a:schemeClr val="tx1"/>
                </a:solidFill>
                <a:effectLst/>
              </a:rPr>
              <a:t>“</a:t>
            </a:r>
          </a:p>
        </p:txBody>
      </p:sp>
      <p:sp>
        <p:nvSpPr>
          <p:cNvPr id="10" name="TextBox 9"/>
          <p:cNvSpPr txBox="1"/>
          <p:nvPr/>
        </p:nvSpPr>
        <p:spPr>
          <a:xfrm>
            <a:off x="10984230" y="2701290"/>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extLst>
      <p:ext uri="{BB962C8B-B14F-4D97-AF65-F5344CB8AC3E}">
        <p14:creationId xmlns:p14="http://schemas.microsoft.com/office/powerpoint/2010/main" val="9520586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Scheda nome">
    <p:spTree>
      <p:nvGrpSpPr>
        <p:cNvPr id="1" name=""/>
        <p:cNvGrpSpPr/>
        <p:nvPr/>
      </p:nvGrpSpPr>
      <p:grpSpPr>
        <a:xfrm>
          <a:off x="0" y="0"/>
          <a:ext cx="0" cy="0"/>
          <a:chOff x="0" y="0"/>
          <a:chExt cx="0" cy="0"/>
        </a:xfrm>
      </p:grpSpPr>
      <p:pic>
        <p:nvPicPr>
          <p:cNvPr id="8" name="Picture 7" descr="C2-HD-BTM.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1024495" y="1124701"/>
            <a:ext cx="10146186" cy="2511835"/>
          </a:xfrm>
        </p:spPr>
        <p:txBody>
          <a:bodyPr anchor="b"/>
          <a:lstStyle>
            <a:lvl1pPr algn="l">
              <a:defRPr sz="3200"/>
            </a:lvl1pPr>
          </a:lstStyle>
          <a:p>
            <a:r>
              <a:rPr lang="it-IT"/>
              <a:t>Fare clic per modificare lo stile del titolo dello schema</a:t>
            </a:r>
            <a:endParaRPr lang="en-US" dirty="0"/>
          </a:p>
        </p:txBody>
      </p:sp>
      <p:sp>
        <p:nvSpPr>
          <p:cNvPr id="4" name="Text Placeholder 3"/>
          <p:cNvSpPr>
            <a:spLocks noGrp="1"/>
          </p:cNvSpPr>
          <p:nvPr>
            <p:ph type="body" sz="half" idx="2"/>
          </p:nvPr>
        </p:nvSpPr>
        <p:spPr>
          <a:xfrm>
            <a:off x="1024467" y="3648315"/>
            <a:ext cx="10144654" cy="999885"/>
          </a:xfrm>
        </p:spPr>
        <p:txBody>
          <a:bodyPr anchor="t"/>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Date Placeholder 4"/>
          <p:cNvSpPr>
            <a:spLocks noGrp="1"/>
          </p:cNvSpPr>
          <p:nvPr>
            <p:ph type="dt" sz="half" idx="10"/>
          </p:nvPr>
        </p:nvSpPr>
        <p:spPr>
          <a:xfrm>
            <a:off x="7814452" y="378883"/>
            <a:ext cx="2910840" cy="365125"/>
          </a:xfrm>
        </p:spPr>
        <p:txBody>
          <a:bodyPr/>
          <a:lstStyle>
            <a:lvl1pPr algn="r">
              <a:defRPr/>
            </a:lvl1pPr>
          </a:lstStyle>
          <a:p>
            <a:fld id="{48A87A34-81AB-432B-8DAE-1953F412C126}" type="datetimeFigureOut">
              <a:rPr lang="en-US" smtClean="0"/>
              <a:pPr/>
              <a:t>4/26/2023</a:t>
            </a:fld>
            <a:endParaRPr lang="en-US" dirty="0"/>
          </a:p>
        </p:txBody>
      </p:sp>
      <p:sp>
        <p:nvSpPr>
          <p:cNvPr id="6" name="Footer Placeholder 5"/>
          <p:cNvSpPr>
            <a:spLocks noGrp="1"/>
          </p:cNvSpPr>
          <p:nvPr>
            <p:ph type="ftr" sz="quarter" idx="11"/>
          </p:nvPr>
        </p:nvSpPr>
        <p:spPr>
          <a:xfrm>
            <a:off x="685800" y="378883"/>
            <a:ext cx="6991492" cy="365125"/>
          </a:xfrm>
        </p:spPr>
        <p:txBody>
          <a:bodyPr/>
          <a:lstStyle/>
          <a:p>
            <a:endParaRPr lang="en-US" dirty="0"/>
          </a:p>
        </p:txBody>
      </p:sp>
      <p:sp>
        <p:nvSpPr>
          <p:cNvPr id="7" name="Slide Number Placeholder 6"/>
          <p:cNvSpPr>
            <a:spLocks noGrp="1"/>
          </p:cNvSpPr>
          <p:nvPr>
            <p:ph type="sldNum" sz="quarter" idx="12"/>
          </p:nvPr>
        </p:nvSpPr>
        <p:spPr>
          <a:xfrm>
            <a:off x="10862452" y="381000"/>
            <a:ext cx="643748" cy="365125"/>
          </a:xfrm>
        </p:spPr>
        <p:txBody>
          <a:bodyPr/>
          <a:lstStyle/>
          <a:p>
            <a:fld id="{6D22F896-40B5-4ADD-8801-0D06FADFA095}" type="slidenum">
              <a:rPr lang="en-US" smtClean="0"/>
              <a:pPr/>
              <a:t>‹N›</a:t>
            </a:fld>
            <a:endParaRPr lang="en-US" dirty="0"/>
          </a:p>
        </p:txBody>
      </p:sp>
    </p:spTree>
    <p:extLst>
      <p:ext uri="{BB962C8B-B14F-4D97-AF65-F5344CB8AC3E}">
        <p14:creationId xmlns:p14="http://schemas.microsoft.com/office/powerpoint/2010/main" val="16708021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onne">
    <p:spTree>
      <p:nvGrpSpPr>
        <p:cNvPr id="1" name=""/>
        <p:cNvGrpSpPr/>
        <p:nvPr/>
      </p:nvGrpSpPr>
      <p:grpSpPr>
        <a:xfrm>
          <a:off x="0" y="0"/>
          <a:ext cx="0" cy="0"/>
          <a:chOff x="0" y="0"/>
          <a:chExt cx="0" cy="0"/>
        </a:xfrm>
      </p:grpSpPr>
      <p:sp>
        <p:nvSpPr>
          <p:cNvPr id="15" name="Title 1"/>
          <p:cNvSpPr>
            <a:spLocks noGrp="1"/>
          </p:cNvSpPr>
          <p:nvPr>
            <p:ph type="title"/>
          </p:nvPr>
        </p:nvSpPr>
        <p:spPr>
          <a:xfrm>
            <a:off x="2895600" y="761999"/>
            <a:ext cx="8610599" cy="1303867"/>
          </a:xfrm>
        </p:spPr>
        <p:txBody>
          <a:bodyPr/>
          <a:lstStyle/>
          <a:p>
            <a:r>
              <a:rPr lang="it-IT"/>
              <a:t>Fare clic per modificare lo stile del titolo dello schema</a:t>
            </a:r>
            <a:endParaRPr lang="en-US" dirty="0"/>
          </a:p>
        </p:txBody>
      </p:sp>
      <p:sp>
        <p:nvSpPr>
          <p:cNvPr id="7" name="Text Placeholder 2"/>
          <p:cNvSpPr>
            <a:spLocks noGrp="1"/>
          </p:cNvSpPr>
          <p:nvPr>
            <p:ph type="body" idx="1"/>
          </p:nvPr>
        </p:nvSpPr>
        <p:spPr>
          <a:xfrm>
            <a:off x="685800" y="2202080"/>
            <a:ext cx="3456432" cy="617320"/>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8" name="Text Placeholder 3"/>
          <p:cNvSpPr>
            <a:spLocks noGrp="1"/>
          </p:cNvSpPr>
          <p:nvPr>
            <p:ph type="body" sz="half" idx="15"/>
          </p:nvPr>
        </p:nvSpPr>
        <p:spPr>
          <a:xfrm>
            <a:off x="685799" y="2904565"/>
            <a:ext cx="3456432" cy="331413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gli stili del testo dello schema</a:t>
            </a:r>
          </a:p>
        </p:txBody>
      </p:sp>
      <p:sp>
        <p:nvSpPr>
          <p:cNvPr id="9" name="Text Placeholder 4"/>
          <p:cNvSpPr>
            <a:spLocks noGrp="1"/>
          </p:cNvSpPr>
          <p:nvPr>
            <p:ph type="body" sz="quarter" idx="3"/>
          </p:nvPr>
        </p:nvSpPr>
        <p:spPr>
          <a:xfrm>
            <a:off x="4368800" y="2201333"/>
            <a:ext cx="3456432" cy="626534"/>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10" name="Text Placeholder 3"/>
          <p:cNvSpPr>
            <a:spLocks noGrp="1"/>
          </p:cNvSpPr>
          <p:nvPr>
            <p:ph type="body" sz="half" idx="16"/>
          </p:nvPr>
        </p:nvSpPr>
        <p:spPr>
          <a:xfrm>
            <a:off x="4366858" y="2904067"/>
            <a:ext cx="3456432" cy="331461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gli stili del testo dello schema</a:t>
            </a:r>
          </a:p>
        </p:txBody>
      </p:sp>
      <p:sp>
        <p:nvSpPr>
          <p:cNvPr id="11" name="Text Placeholder 4"/>
          <p:cNvSpPr>
            <a:spLocks noGrp="1"/>
          </p:cNvSpPr>
          <p:nvPr>
            <p:ph type="body" sz="quarter" idx="13"/>
          </p:nvPr>
        </p:nvSpPr>
        <p:spPr>
          <a:xfrm>
            <a:off x="8051800" y="2192866"/>
            <a:ext cx="3456432" cy="626534"/>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12" name="Text Placeholder 3"/>
          <p:cNvSpPr>
            <a:spLocks noGrp="1"/>
          </p:cNvSpPr>
          <p:nvPr>
            <p:ph type="body" sz="half" idx="17"/>
          </p:nvPr>
        </p:nvSpPr>
        <p:spPr>
          <a:xfrm>
            <a:off x="8051801" y="2904565"/>
            <a:ext cx="3456432" cy="331413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gli stili del testo dello schema</a:t>
            </a:r>
          </a:p>
        </p:txBody>
      </p:sp>
      <p:sp>
        <p:nvSpPr>
          <p:cNvPr id="3" name="Date Placeholder 2"/>
          <p:cNvSpPr>
            <a:spLocks noGrp="1"/>
          </p:cNvSpPr>
          <p:nvPr>
            <p:ph type="dt" sz="half" idx="10"/>
          </p:nvPr>
        </p:nvSpPr>
        <p:spPr/>
        <p:txBody>
          <a:bodyPr/>
          <a:lstStyle/>
          <a:p>
            <a:fld id="{48A87A34-81AB-432B-8DAE-1953F412C126}" type="datetimeFigureOut">
              <a:rPr lang="en-US" smtClean="0"/>
              <a:pPr/>
              <a:t>4/26/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smtClean="0"/>
              <a:pPr/>
              <a:t>‹N›</a:t>
            </a:fld>
            <a:endParaRPr lang="en-US" dirty="0"/>
          </a:p>
        </p:txBody>
      </p:sp>
    </p:spTree>
    <p:extLst>
      <p:ext uri="{BB962C8B-B14F-4D97-AF65-F5344CB8AC3E}">
        <p14:creationId xmlns:p14="http://schemas.microsoft.com/office/powerpoint/2010/main" val="2226804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colonne immagine">
    <p:spTree>
      <p:nvGrpSpPr>
        <p:cNvPr id="1" name=""/>
        <p:cNvGrpSpPr/>
        <p:nvPr/>
      </p:nvGrpSpPr>
      <p:grpSpPr>
        <a:xfrm>
          <a:off x="0" y="0"/>
          <a:ext cx="0" cy="0"/>
          <a:chOff x="0" y="0"/>
          <a:chExt cx="0" cy="0"/>
        </a:xfrm>
      </p:grpSpPr>
      <p:sp>
        <p:nvSpPr>
          <p:cNvPr id="30" name="Title 1"/>
          <p:cNvSpPr>
            <a:spLocks noGrp="1"/>
          </p:cNvSpPr>
          <p:nvPr>
            <p:ph type="title"/>
          </p:nvPr>
        </p:nvSpPr>
        <p:spPr>
          <a:xfrm>
            <a:off x="2895600" y="762000"/>
            <a:ext cx="8610599" cy="1295400"/>
          </a:xfrm>
        </p:spPr>
        <p:txBody>
          <a:bodyPr/>
          <a:lstStyle/>
          <a:p>
            <a:r>
              <a:rPr lang="it-IT"/>
              <a:t>Fare clic per modificare lo stile del titolo dello schema</a:t>
            </a:r>
            <a:endParaRPr lang="en-US" dirty="0"/>
          </a:p>
        </p:txBody>
      </p:sp>
      <p:sp>
        <p:nvSpPr>
          <p:cNvPr id="19" name="Text Placeholder 2"/>
          <p:cNvSpPr>
            <a:spLocks noGrp="1"/>
          </p:cNvSpPr>
          <p:nvPr>
            <p:ph type="body" idx="1"/>
          </p:nvPr>
        </p:nvSpPr>
        <p:spPr>
          <a:xfrm>
            <a:off x="688618" y="4191000"/>
            <a:ext cx="3451582" cy="682765"/>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20" name="Picture Placeholder 2"/>
          <p:cNvSpPr>
            <a:spLocks noGrp="1" noChangeAspect="1"/>
          </p:cNvSpPr>
          <p:nvPr>
            <p:ph type="pic" idx="15"/>
          </p:nvPr>
        </p:nvSpPr>
        <p:spPr>
          <a:xfrm>
            <a:off x="688618" y="2362200"/>
            <a:ext cx="3451582"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it-IT"/>
              <a:t>Fare clic sull'icona per inserire un'immagine</a:t>
            </a:r>
            <a:endParaRPr lang="en-US" dirty="0"/>
          </a:p>
        </p:txBody>
      </p:sp>
      <p:sp>
        <p:nvSpPr>
          <p:cNvPr id="21" name="Text Placeholder 3"/>
          <p:cNvSpPr>
            <a:spLocks noGrp="1"/>
          </p:cNvSpPr>
          <p:nvPr>
            <p:ph type="body" sz="half" idx="18"/>
          </p:nvPr>
        </p:nvSpPr>
        <p:spPr>
          <a:xfrm>
            <a:off x="688618" y="4873764"/>
            <a:ext cx="3451582" cy="1344921"/>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gli stili del testo dello schema</a:t>
            </a:r>
          </a:p>
        </p:txBody>
      </p:sp>
      <p:sp>
        <p:nvSpPr>
          <p:cNvPr id="22" name="Text Placeholder 4"/>
          <p:cNvSpPr>
            <a:spLocks noGrp="1"/>
          </p:cNvSpPr>
          <p:nvPr>
            <p:ph type="body" sz="quarter" idx="3"/>
          </p:nvPr>
        </p:nvSpPr>
        <p:spPr>
          <a:xfrm>
            <a:off x="4374263" y="4191000"/>
            <a:ext cx="3448935" cy="682765"/>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23" name="Picture Placeholder 2"/>
          <p:cNvSpPr>
            <a:spLocks noGrp="1" noChangeAspect="1"/>
          </p:cNvSpPr>
          <p:nvPr>
            <p:ph type="pic" idx="21"/>
          </p:nvPr>
        </p:nvSpPr>
        <p:spPr>
          <a:xfrm>
            <a:off x="4374263" y="2362200"/>
            <a:ext cx="3448936"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it-IT"/>
              <a:t>Fare clic sull'icona per inserire un'immagine</a:t>
            </a:r>
            <a:endParaRPr lang="en-US" dirty="0"/>
          </a:p>
        </p:txBody>
      </p:sp>
      <p:sp>
        <p:nvSpPr>
          <p:cNvPr id="24" name="Text Placeholder 3"/>
          <p:cNvSpPr>
            <a:spLocks noGrp="1"/>
          </p:cNvSpPr>
          <p:nvPr>
            <p:ph type="body" sz="half" idx="19"/>
          </p:nvPr>
        </p:nvSpPr>
        <p:spPr>
          <a:xfrm>
            <a:off x="4374264" y="4873763"/>
            <a:ext cx="3448935" cy="1344921"/>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gli stili del testo dello schema</a:t>
            </a:r>
          </a:p>
        </p:txBody>
      </p:sp>
      <p:sp>
        <p:nvSpPr>
          <p:cNvPr id="25" name="Text Placeholder 4"/>
          <p:cNvSpPr>
            <a:spLocks noGrp="1"/>
          </p:cNvSpPr>
          <p:nvPr>
            <p:ph type="body" sz="quarter" idx="13"/>
          </p:nvPr>
        </p:nvSpPr>
        <p:spPr>
          <a:xfrm>
            <a:off x="8049731" y="4191000"/>
            <a:ext cx="3456469" cy="682765"/>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26" name="Picture Placeholder 2"/>
          <p:cNvSpPr>
            <a:spLocks noGrp="1" noChangeAspect="1"/>
          </p:cNvSpPr>
          <p:nvPr>
            <p:ph type="pic" idx="22"/>
          </p:nvPr>
        </p:nvSpPr>
        <p:spPr>
          <a:xfrm>
            <a:off x="8049855" y="2362200"/>
            <a:ext cx="3447878"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it-IT"/>
              <a:t>Fare clic sull'icona per inserire un'immagine</a:t>
            </a:r>
            <a:endParaRPr lang="en-US" dirty="0"/>
          </a:p>
        </p:txBody>
      </p:sp>
      <p:sp>
        <p:nvSpPr>
          <p:cNvPr id="27" name="Text Placeholder 3"/>
          <p:cNvSpPr>
            <a:spLocks noGrp="1"/>
          </p:cNvSpPr>
          <p:nvPr>
            <p:ph type="body" sz="half" idx="20"/>
          </p:nvPr>
        </p:nvSpPr>
        <p:spPr>
          <a:xfrm>
            <a:off x="8049731" y="4873761"/>
            <a:ext cx="3452445" cy="1344921"/>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gli stili del testo dello schema</a:t>
            </a:r>
          </a:p>
        </p:txBody>
      </p:sp>
      <p:sp>
        <p:nvSpPr>
          <p:cNvPr id="3" name="Date Placeholder 2"/>
          <p:cNvSpPr>
            <a:spLocks noGrp="1"/>
          </p:cNvSpPr>
          <p:nvPr>
            <p:ph type="dt" sz="half" idx="10"/>
          </p:nvPr>
        </p:nvSpPr>
        <p:spPr/>
        <p:txBody>
          <a:bodyPr/>
          <a:lstStyle/>
          <a:p>
            <a:fld id="{48A87A34-81AB-432B-8DAE-1953F412C126}" type="datetimeFigureOut">
              <a:rPr lang="en-US" smtClean="0"/>
              <a:pPr/>
              <a:t>4/26/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smtClean="0"/>
              <a:pPr/>
              <a:t>‹N›</a:t>
            </a:fld>
            <a:endParaRPr lang="en-US" dirty="0"/>
          </a:p>
        </p:txBody>
      </p:sp>
    </p:spTree>
    <p:extLst>
      <p:ext uri="{BB962C8B-B14F-4D97-AF65-F5344CB8AC3E}">
        <p14:creationId xmlns:p14="http://schemas.microsoft.com/office/powerpoint/2010/main" val="15022480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Vertical Text Placeholder 2"/>
          <p:cNvSpPr>
            <a:spLocks noGrp="1"/>
          </p:cNvSpPr>
          <p:nvPr>
            <p:ph type="body" orient="vert" idx="1"/>
          </p:nvPr>
        </p:nvSpPr>
        <p:spPr>
          <a:xfrm>
            <a:off x="685800" y="2194559"/>
            <a:ext cx="10820400" cy="4024125"/>
          </a:xfrm>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smtClean="0"/>
              <a:t>4/26/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smtClean="0"/>
              <a:t>‹N›</a:t>
            </a:fld>
            <a:endParaRPr lang="en-US" dirty="0"/>
          </a:p>
        </p:txBody>
      </p:sp>
    </p:spTree>
    <p:extLst>
      <p:ext uri="{BB962C8B-B14F-4D97-AF65-F5344CB8AC3E}">
        <p14:creationId xmlns:p14="http://schemas.microsoft.com/office/powerpoint/2010/main" val="414772505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vertTitleAndTx" preserve="1">
  <p:cSld name="1_Titolo e testo verticale">
    <p:spTree>
      <p:nvGrpSpPr>
        <p:cNvPr id="1" name=""/>
        <p:cNvGrpSpPr/>
        <p:nvPr/>
      </p:nvGrpSpPr>
      <p:grpSpPr>
        <a:xfrm>
          <a:off x="0" y="0"/>
          <a:ext cx="0" cy="0"/>
          <a:chOff x="0" y="0"/>
          <a:chExt cx="0" cy="0"/>
        </a:xfrm>
      </p:grpSpPr>
      <p:pic>
        <p:nvPicPr>
          <p:cNvPr id="9" name="Picture 8" descr="C2-HD-BTM.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4375150"/>
            <a:ext cx="12192000" cy="2482850"/>
          </a:xfrm>
          <a:prstGeom prst="rect">
            <a:avLst/>
          </a:prstGeom>
        </p:spPr>
      </p:pic>
      <p:sp>
        <p:nvSpPr>
          <p:cNvPr id="2" name="Vertical Title 1"/>
          <p:cNvSpPr>
            <a:spLocks noGrp="1"/>
          </p:cNvSpPr>
          <p:nvPr>
            <p:ph type="title" orient="vert"/>
          </p:nvPr>
        </p:nvSpPr>
        <p:spPr>
          <a:xfrm>
            <a:off x="9448800" y="745066"/>
            <a:ext cx="2057400" cy="3903133"/>
          </a:xfrm>
        </p:spPr>
        <p:txBody>
          <a:bodyPr vert="eaVert"/>
          <a:lstStyle>
            <a:lvl1pPr algn="l">
              <a:defRPr/>
            </a:lvl1pPr>
          </a:lstStyle>
          <a:p>
            <a:r>
              <a:rPr lang="it-IT"/>
              <a:t>Fare clic per modificare lo stile del titolo dello schema</a:t>
            </a:r>
            <a:endParaRPr lang="en-US" dirty="0"/>
          </a:p>
        </p:txBody>
      </p:sp>
      <p:sp>
        <p:nvSpPr>
          <p:cNvPr id="3" name="Vertical Text Placeholder 2"/>
          <p:cNvSpPr>
            <a:spLocks noGrp="1"/>
          </p:cNvSpPr>
          <p:nvPr>
            <p:ph type="body" orient="vert" idx="1"/>
          </p:nvPr>
        </p:nvSpPr>
        <p:spPr>
          <a:xfrm>
            <a:off x="1024466" y="745067"/>
            <a:ext cx="8204201" cy="3903133"/>
          </a:xfrm>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10"/>
          </p:nvPr>
        </p:nvSpPr>
        <p:spPr>
          <a:xfrm>
            <a:off x="7814452" y="379941"/>
            <a:ext cx="2910840" cy="365125"/>
          </a:xfrm>
        </p:spPr>
        <p:txBody>
          <a:bodyPr/>
          <a:lstStyle>
            <a:lvl1pPr algn="r">
              <a:defRPr/>
            </a:lvl1pPr>
          </a:lstStyle>
          <a:p>
            <a:fld id="{48A87A34-81AB-432B-8DAE-1953F412C126}" type="datetimeFigureOut">
              <a:rPr lang="en-US" smtClean="0"/>
              <a:pPr/>
              <a:t>4/26/2023</a:t>
            </a:fld>
            <a:endParaRPr lang="en-US" dirty="0"/>
          </a:p>
        </p:txBody>
      </p:sp>
      <p:sp>
        <p:nvSpPr>
          <p:cNvPr id="5" name="Footer Placeholder 4"/>
          <p:cNvSpPr>
            <a:spLocks noGrp="1"/>
          </p:cNvSpPr>
          <p:nvPr>
            <p:ph type="ftr" sz="quarter" idx="11"/>
          </p:nvPr>
        </p:nvSpPr>
        <p:spPr>
          <a:xfrm>
            <a:off x="685800" y="381000"/>
            <a:ext cx="6991492" cy="365125"/>
          </a:xfrm>
        </p:spPr>
        <p:txBody>
          <a:bodyPr/>
          <a:lstStyle/>
          <a:p>
            <a:endParaRPr lang="en-US" dirty="0"/>
          </a:p>
        </p:txBody>
      </p:sp>
      <p:sp>
        <p:nvSpPr>
          <p:cNvPr id="6" name="Slide Number Placeholder 5"/>
          <p:cNvSpPr>
            <a:spLocks noGrp="1"/>
          </p:cNvSpPr>
          <p:nvPr>
            <p:ph type="sldNum" sz="quarter" idx="12"/>
          </p:nvPr>
        </p:nvSpPr>
        <p:spPr>
          <a:xfrm>
            <a:off x="10862452" y="381000"/>
            <a:ext cx="643748" cy="365125"/>
          </a:xfrm>
        </p:spPr>
        <p:txBody>
          <a:bodyPr/>
          <a:lstStyle/>
          <a:p>
            <a:fld id="{6D22F896-40B5-4ADD-8801-0D06FADFA095}" type="slidenum">
              <a:rPr lang="en-US" smtClean="0"/>
              <a:pPr/>
              <a:t>‹N›</a:t>
            </a:fld>
            <a:endParaRPr lang="en-US" dirty="0"/>
          </a:p>
        </p:txBody>
      </p:sp>
    </p:spTree>
    <p:extLst>
      <p:ext uri="{BB962C8B-B14F-4D97-AF65-F5344CB8AC3E}">
        <p14:creationId xmlns:p14="http://schemas.microsoft.com/office/powerpoint/2010/main" val="262716116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fourObj">
  <p:cSld name="Titolo e contenuto 4">
    <p:spTree>
      <p:nvGrpSpPr>
        <p:cNvPr id="1" name=""/>
        <p:cNvGrpSpPr/>
        <p:nvPr/>
      </p:nvGrpSpPr>
      <p:grpSpPr>
        <a:xfrm>
          <a:off x="0" y="0"/>
          <a:ext cx="0" cy="0"/>
          <a:chOff x="0" y="0"/>
          <a:chExt cx="0" cy="0"/>
        </a:xfrm>
      </p:grpSpPr>
      <p:sp>
        <p:nvSpPr>
          <p:cNvPr id="2" name="Titolo 1"/>
          <p:cNvSpPr txBox="1">
            <a:spLocks noGrp="1"/>
          </p:cNvSpPr>
          <p:nvPr>
            <p:ph type="title"/>
          </p:nvPr>
        </p:nvSpPr>
        <p:spPr>
          <a:xfrm>
            <a:off x="609600" y="274640"/>
            <a:ext cx="10972800" cy="1143000"/>
          </a:xfrm>
        </p:spPr>
        <p:txBody>
          <a:bodyPr/>
          <a:lstStyle>
            <a:lvl1pPr>
              <a:defRPr/>
            </a:lvl1pPr>
          </a:lstStyle>
          <a:p>
            <a:pPr lvl="0"/>
            <a:r>
              <a:rPr lang="it-IT"/>
              <a:t>Fare clic per modificare lo stile del titolo</a:t>
            </a:r>
          </a:p>
        </p:txBody>
      </p:sp>
      <p:sp>
        <p:nvSpPr>
          <p:cNvPr id="3" name="Segnaposto contenuto 2"/>
          <p:cNvSpPr txBox="1">
            <a:spLocks noGrp="1"/>
          </p:cNvSpPr>
          <p:nvPr>
            <p:ph idx="1"/>
          </p:nvPr>
        </p:nvSpPr>
        <p:spPr>
          <a:xfrm>
            <a:off x="609601" y="1600200"/>
            <a:ext cx="5384804" cy="2185992"/>
          </a:xfrm>
        </p:spPr>
        <p:txBody>
          <a:bodyPr/>
          <a:lstStyle>
            <a:lvl1pPr>
              <a:defRPr/>
            </a:lvl1pPr>
            <a:lvl2pPr>
              <a:defRPr/>
            </a:lvl2pPr>
            <a:lvl3pPr>
              <a:defRPr/>
            </a:lvl3pPr>
            <a:lvl4pPr>
              <a:defRPr/>
            </a:lvl4pPr>
            <a:lvl5pPr>
              <a:defRPr/>
            </a:lvl5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txBox="1">
            <a:spLocks noGrp="1"/>
          </p:cNvSpPr>
          <p:nvPr>
            <p:ph idx="2"/>
          </p:nvPr>
        </p:nvSpPr>
        <p:spPr>
          <a:xfrm>
            <a:off x="6197595" y="1600200"/>
            <a:ext cx="5384804" cy="2185992"/>
          </a:xfrm>
        </p:spPr>
        <p:txBody>
          <a:bodyPr/>
          <a:lstStyle>
            <a:lvl1pPr>
              <a:defRPr/>
            </a:lvl1pPr>
            <a:lvl2pPr>
              <a:defRPr/>
            </a:lvl2pPr>
            <a:lvl3pPr>
              <a:defRPr/>
            </a:lvl3pPr>
            <a:lvl4pPr>
              <a:defRPr/>
            </a:lvl4pPr>
            <a:lvl5pPr>
              <a:defRPr/>
            </a:lvl5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contenuto 4"/>
          <p:cNvSpPr txBox="1">
            <a:spLocks noGrp="1"/>
          </p:cNvSpPr>
          <p:nvPr>
            <p:ph idx="3"/>
          </p:nvPr>
        </p:nvSpPr>
        <p:spPr>
          <a:xfrm>
            <a:off x="609601" y="3938586"/>
            <a:ext cx="5384804" cy="2187573"/>
          </a:xfrm>
        </p:spPr>
        <p:txBody>
          <a:bodyPr/>
          <a:lstStyle>
            <a:lvl1pPr>
              <a:defRPr/>
            </a:lvl1pPr>
            <a:lvl2pPr>
              <a:defRPr/>
            </a:lvl2pPr>
            <a:lvl3pPr>
              <a:defRPr/>
            </a:lvl3pPr>
            <a:lvl4pPr>
              <a:defRPr/>
            </a:lvl4pPr>
            <a:lvl5pPr>
              <a:defRPr/>
            </a:lvl5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contenuto 5"/>
          <p:cNvSpPr txBox="1">
            <a:spLocks noGrp="1"/>
          </p:cNvSpPr>
          <p:nvPr>
            <p:ph idx="4"/>
          </p:nvPr>
        </p:nvSpPr>
        <p:spPr>
          <a:xfrm>
            <a:off x="6197595" y="3938586"/>
            <a:ext cx="5384804" cy="2187573"/>
          </a:xfrm>
        </p:spPr>
        <p:txBody>
          <a:bodyPr/>
          <a:lstStyle>
            <a:lvl1pPr>
              <a:defRPr/>
            </a:lvl1pPr>
            <a:lvl2pPr>
              <a:defRPr/>
            </a:lvl2pPr>
            <a:lvl3pPr>
              <a:defRPr/>
            </a:lvl3pPr>
            <a:lvl4pPr>
              <a:defRPr/>
            </a:lvl4pPr>
            <a:lvl5pPr>
              <a:defRPr/>
            </a:lvl5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6">
            <a:extLst>
              <a:ext uri="{FF2B5EF4-FFF2-40B4-BE49-F238E27FC236}">
                <a16:creationId xmlns:a16="http://schemas.microsoft.com/office/drawing/2014/main" id="{70DF0408-80A2-4845-9641-753E891AA090}"/>
              </a:ext>
            </a:extLst>
          </p:cNvPr>
          <p:cNvSpPr txBox="1">
            <a:spLocks noGrp="1"/>
          </p:cNvSpPr>
          <p:nvPr>
            <p:ph type="dt" sz="half" idx="10"/>
          </p:nvPr>
        </p:nvSpPr>
        <p:spPr/>
        <p:txBody>
          <a:bodyPr/>
          <a:lstStyle>
            <a:lvl1pPr>
              <a:defRPr/>
            </a:lvl1pPr>
          </a:lstStyle>
          <a:p>
            <a:pPr>
              <a:defRPr/>
            </a:pPr>
            <a:endParaRPr/>
          </a:p>
        </p:txBody>
      </p:sp>
      <p:sp>
        <p:nvSpPr>
          <p:cNvPr id="8" name="Segnaposto piè di pagina 7">
            <a:extLst>
              <a:ext uri="{FF2B5EF4-FFF2-40B4-BE49-F238E27FC236}">
                <a16:creationId xmlns:a16="http://schemas.microsoft.com/office/drawing/2014/main" id="{CD30DE24-5151-794F-857E-AD9603425B32}"/>
              </a:ext>
            </a:extLst>
          </p:cNvPr>
          <p:cNvSpPr txBox="1">
            <a:spLocks noGrp="1"/>
          </p:cNvSpPr>
          <p:nvPr>
            <p:ph type="ftr" sz="quarter" idx="11"/>
          </p:nvPr>
        </p:nvSpPr>
        <p:spPr/>
        <p:txBody>
          <a:bodyPr/>
          <a:lstStyle>
            <a:lvl1pPr>
              <a:defRPr/>
            </a:lvl1pPr>
          </a:lstStyle>
          <a:p>
            <a:pPr>
              <a:defRPr/>
            </a:pPr>
            <a:endParaRPr/>
          </a:p>
        </p:txBody>
      </p:sp>
      <p:sp>
        <p:nvSpPr>
          <p:cNvPr id="9" name="Segnaposto numero diapositiva 8">
            <a:extLst>
              <a:ext uri="{FF2B5EF4-FFF2-40B4-BE49-F238E27FC236}">
                <a16:creationId xmlns:a16="http://schemas.microsoft.com/office/drawing/2014/main" id="{3596983B-4FC8-EE45-B05D-0CE5B39EEFDD}"/>
              </a:ext>
            </a:extLst>
          </p:cNvPr>
          <p:cNvSpPr txBox="1">
            <a:spLocks noGrp="1"/>
          </p:cNvSpPr>
          <p:nvPr>
            <p:ph type="sldNum" sz="quarter" idx="12"/>
          </p:nvPr>
        </p:nvSpPr>
        <p:spPr/>
        <p:txBody>
          <a:bodyPr/>
          <a:lstStyle>
            <a:lvl1pPr>
              <a:defRPr/>
            </a:lvl1pPr>
          </a:lstStyle>
          <a:p>
            <a:pPr>
              <a:defRPr/>
            </a:pPr>
            <a:fld id="{EFFD50F3-5E0B-BB4B-A4F5-68945A67B4F6}" type="slidenum">
              <a:rPr/>
              <a:pPr>
                <a:defRPr/>
              </a:pPr>
              <a:t>‹N›</a:t>
            </a:fld>
            <a:endParaRPr/>
          </a:p>
        </p:txBody>
      </p:sp>
    </p:spTree>
    <p:extLst>
      <p:ext uri="{BB962C8B-B14F-4D97-AF65-F5344CB8AC3E}">
        <p14:creationId xmlns:p14="http://schemas.microsoft.com/office/powerpoint/2010/main" val="892358659"/>
      </p:ext>
    </p:extLst>
  </p:cSld>
  <p:clrMapOvr>
    <a:masterClrMapping/>
  </p:clrMapOvr>
  <p:hf sldNum="0"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Base interna">
    <p:bg>
      <p:bgPr>
        <a:solidFill>
          <a:srgbClr val="F5F2F1"/>
        </a:solidFill>
        <a:effectLst/>
      </p:bgPr>
    </p:bg>
    <p:spTree>
      <p:nvGrpSpPr>
        <p:cNvPr id="1" name=""/>
        <p:cNvGrpSpPr/>
        <p:nvPr/>
      </p:nvGrpSpPr>
      <p:grpSpPr>
        <a:xfrm>
          <a:off x="0" y="0"/>
          <a:ext cx="0" cy="0"/>
          <a:chOff x="0" y="0"/>
          <a:chExt cx="0" cy="0"/>
        </a:xfrm>
      </p:grpSpPr>
      <p:sp>
        <p:nvSpPr>
          <p:cNvPr id="10" name="Rettangolo 9">
            <a:extLst>
              <a:ext uri="{FF2B5EF4-FFF2-40B4-BE49-F238E27FC236}">
                <a16:creationId xmlns:a16="http://schemas.microsoft.com/office/drawing/2014/main" id="{495F8F69-C1EE-F548-B38B-B059741C2FBA}"/>
              </a:ext>
            </a:extLst>
          </p:cNvPr>
          <p:cNvSpPr/>
          <p:nvPr userDrawn="1"/>
        </p:nvSpPr>
        <p:spPr>
          <a:xfrm>
            <a:off x="127591" y="116958"/>
            <a:ext cx="11919097" cy="66045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9" name="Rettangolo 8">
            <a:extLst>
              <a:ext uri="{FF2B5EF4-FFF2-40B4-BE49-F238E27FC236}">
                <a16:creationId xmlns:a16="http://schemas.microsoft.com/office/drawing/2014/main" id="{914FB170-C7C5-DD46-AD6E-DE960E00199F}"/>
              </a:ext>
            </a:extLst>
          </p:cNvPr>
          <p:cNvSpPr/>
          <p:nvPr userDrawn="1"/>
        </p:nvSpPr>
        <p:spPr>
          <a:xfrm>
            <a:off x="255182" y="265814"/>
            <a:ext cx="756000" cy="754911"/>
          </a:xfrm>
          <a:prstGeom prst="rect">
            <a:avLst/>
          </a:prstGeom>
          <a:solidFill>
            <a:srgbClr val="00A5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 name="Titolo 1">
            <a:extLst>
              <a:ext uri="{FF2B5EF4-FFF2-40B4-BE49-F238E27FC236}">
                <a16:creationId xmlns:a16="http://schemas.microsoft.com/office/drawing/2014/main" id="{94BF8D78-611C-F141-A830-61910CFE5D91}"/>
              </a:ext>
            </a:extLst>
          </p:cNvPr>
          <p:cNvSpPr>
            <a:spLocks noGrp="1"/>
          </p:cNvSpPr>
          <p:nvPr>
            <p:ph type="title" hasCustomPrompt="1"/>
          </p:nvPr>
        </p:nvSpPr>
        <p:spPr>
          <a:xfrm>
            <a:off x="1138773" y="336938"/>
            <a:ext cx="10515600" cy="288000"/>
          </a:xfrm>
        </p:spPr>
        <p:txBody>
          <a:bodyPr anchor="t">
            <a:noAutofit/>
          </a:bodyPr>
          <a:lstStyle>
            <a:lvl1pPr>
              <a:defRPr sz="2400" b="1" i="0">
                <a:solidFill>
                  <a:srgbClr val="74BB23"/>
                </a:solidFill>
                <a:latin typeface="Titillium Web SemiBold" pitchFamily="2" charset="77"/>
              </a:defRPr>
            </a:lvl1pPr>
          </a:lstStyle>
          <a:p>
            <a:r>
              <a:rPr lang="it-IT" dirty="0"/>
              <a:t>FARE CLIC PER MODIFICARE LO STILE DEL TITOLO DELLO SCHEMA</a:t>
            </a:r>
          </a:p>
        </p:txBody>
      </p:sp>
      <p:pic>
        <p:nvPicPr>
          <p:cNvPr id="11" name="Immagine 10">
            <a:extLst>
              <a:ext uri="{FF2B5EF4-FFF2-40B4-BE49-F238E27FC236}">
                <a16:creationId xmlns:a16="http://schemas.microsoft.com/office/drawing/2014/main" id="{C00C6A19-A997-F444-84A1-527AB44ED10F}"/>
              </a:ext>
            </a:extLst>
          </p:cNvPr>
          <p:cNvPicPr>
            <a:picLocks noChangeAspect="1"/>
          </p:cNvPicPr>
          <p:nvPr userDrawn="1"/>
        </p:nvPicPr>
        <p:blipFill>
          <a:blip r:embed="rId2"/>
          <a:stretch>
            <a:fillRect/>
          </a:stretch>
        </p:blipFill>
        <p:spPr>
          <a:xfrm>
            <a:off x="255182" y="6023760"/>
            <a:ext cx="967562" cy="515152"/>
          </a:xfrm>
          <a:prstGeom prst="rect">
            <a:avLst/>
          </a:prstGeom>
        </p:spPr>
      </p:pic>
      <p:sp>
        <p:nvSpPr>
          <p:cNvPr id="13" name="Sottotitolo 2">
            <a:extLst>
              <a:ext uri="{FF2B5EF4-FFF2-40B4-BE49-F238E27FC236}">
                <a16:creationId xmlns:a16="http://schemas.microsoft.com/office/drawing/2014/main" id="{AEE051B5-DAD5-B04E-BE4D-8524050F2F6F}"/>
              </a:ext>
            </a:extLst>
          </p:cNvPr>
          <p:cNvSpPr>
            <a:spLocks noGrp="1"/>
          </p:cNvSpPr>
          <p:nvPr>
            <p:ph type="subTitle" idx="13"/>
          </p:nvPr>
        </p:nvSpPr>
        <p:spPr>
          <a:xfrm>
            <a:off x="1222745" y="1904075"/>
            <a:ext cx="4104168" cy="3603590"/>
          </a:xfrm>
        </p:spPr>
        <p:txBody>
          <a:bodyPr>
            <a:normAutofit/>
          </a:bodyPr>
          <a:lstStyle>
            <a:lvl1pPr marL="0" indent="0" algn="l">
              <a:buNone/>
              <a:defRPr sz="1400" b="0" i="0">
                <a:solidFill>
                  <a:srgbClr val="706F6F"/>
                </a:solidFill>
                <a:latin typeface="Titillium Web"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dirty="0"/>
              <a:t>Fare clic per modificare lo stile del sottotitolo dello schema</a:t>
            </a:r>
          </a:p>
        </p:txBody>
      </p:sp>
      <p:sp>
        <p:nvSpPr>
          <p:cNvPr id="15" name="Segnaposto testo 14">
            <a:extLst>
              <a:ext uri="{FF2B5EF4-FFF2-40B4-BE49-F238E27FC236}">
                <a16:creationId xmlns:a16="http://schemas.microsoft.com/office/drawing/2014/main" id="{1F694E06-E66E-3D41-930B-2C3F2CDC3C73}"/>
              </a:ext>
            </a:extLst>
          </p:cNvPr>
          <p:cNvSpPr>
            <a:spLocks noGrp="1"/>
          </p:cNvSpPr>
          <p:nvPr>
            <p:ph type="body" sz="quarter" idx="14"/>
          </p:nvPr>
        </p:nvSpPr>
        <p:spPr>
          <a:xfrm>
            <a:off x="1138772" y="732725"/>
            <a:ext cx="10515600" cy="288000"/>
          </a:xfrm>
        </p:spPr>
        <p:txBody>
          <a:bodyPr>
            <a:noAutofit/>
          </a:bodyPr>
          <a:lstStyle>
            <a:lvl1pPr marL="0" indent="0">
              <a:buNone/>
              <a:defRPr sz="2400" b="1" i="0">
                <a:solidFill>
                  <a:srgbClr val="00A5CE"/>
                </a:solidFill>
                <a:latin typeface="Titillium Web SemiBold" pitchFamily="2" charset="77"/>
              </a:defRPr>
            </a:lvl1pPr>
          </a:lstStyle>
          <a:p>
            <a:r>
              <a:rPr lang="it-IT" dirty="0"/>
              <a:t>Modifica gli stili del testo dello schema</a:t>
            </a:r>
          </a:p>
        </p:txBody>
      </p:sp>
      <p:sp>
        <p:nvSpPr>
          <p:cNvPr id="18" name="Segnaposto data 17">
            <a:extLst>
              <a:ext uri="{FF2B5EF4-FFF2-40B4-BE49-F238E27FC236}">
                <a16:creationId xmlns:a16="http://schemas.microsoft.com/office/drawing/2014/main" id="{E1C99770-8160-DB41-A499-9EC23BF6BC97}"/>
              </a:ext>
            </a:extLst>
          </p:cNvPr>
          <p:cNvSpPr>
            <a:spLocks noGrp="1"/>
          </p:cNvSpPr>
          <p:nvPr>
            <p:ph type="dt" sz="half" idx="15"/>
          </p:nvPr>
        </p:nvSpPr>
        <p:spPr/>
        <p:txBody>
          <a:bodyPr/>
          <a:lstStyle/>
          <a:p>
            <a:fld id="{D2A46AB0-7C87-1349-B0CD-6C7816BE3C01}" type="datetime1">
              <a:rPr lang="it-IT" smtClean="0"/>
              <a:t>26/04/2023</a:t>
            </a:fld>
            <a:endParaRPr lang="it-IT"/>
          </a:p>
        </p:txBody>
      </p:sp>
      <p:sp>
        <p:nvSpPr>
          <p:cNvPr id="19" name="Segnaposto piè di pagina 18">
            <a:extLst>
              <a:ext uri="{FF2B5EF4-FFF2-40B4-BE49-F238E27FC236}">
                <a16:creationId xmlns:a16="http://schemas.microsoft.com/office/drawing/2014/main" id="{036229F9-0510-3C49-AE16-B9B445EFD934}"/>
              </a:ext>
            </a:extLst>
          </p:cNvPr>
          <p:cNvSpPr>
            <a:spLocks noGrp="1"/>
          </p:cNvSpPr>
          <p:nvPr>
            <p:ph type="ftr" sz="quarter" idx="16"/>
          </p:nvPr>
        </p:nvSpPr>
        <p:spPr/>
        <p:txBody>
          <a:bodyPr/>
          <a:lstStyle/>
          <a:p>
            <a:endParaRPr lang="it-IT"/>
          </a:p>
        </p:txBody>
      </p:sp>
      <p:sp>
        <p:nvSpPr>
          <p:cNvPr id="20" name="Segnaposto numero diapositiva 19">
            <a:extLst>
              <a:ext uri="{FF2B5EF4-FFF2-40B4-BE49-F238E27FC236}">
                <a16:creationId xmlns:a16="http://schemas.microsoft.com/office/drawing/2014/main" id="{72B8C971-C512-4642-B4A9-9BB4CAD48C8E}"/>
              </a:ext>
            </a:extLst>
          </p:cNvPr>
          <p:cNvSpPr>
            <a:spLocks noGrp="1"/>
          </p:cNvSpPr>
          <p:nvPr>
            <p:ph type="sldNum" sz="quarter" idx="17"/>
          </p:nvPr>
        </p:nvSpPr>
        <p:spPr/>
        <p:txBody>
          <a:bodyPr/>
          <a:lstStyle/>
          <a:p>
            <a:fld id="{53A7D260-5123-0240-BDE6-74CF00F5127F}" type="slidenum">
              <a:rPr lang="it-IT" smtClean="0"/>
              <a:t>‹N›</a:t>
            </a:fld>
            <a:endParaRPr lang="it-IT"/>
          </a:p>
        </p:txBody>
      </p:sp>
    </p:spTree>
    <p:extLst>
      <p:ext uri="{BB962C8B-B14F-4D97-AF65-F5344CB8AC3E}">
        <p14:creationId xmlns:p14="http://schemas.microsoft.com/office/powerpoint/2010/main" val="10767110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Content Placeholder 2"/>
          <p:cNvSpPr>
            <a:spLocks noGrp="1"/>
          </p:cNvSpPr>
          <p:nvPr>
            <p:ph idx="1"/>
          </p:nvPr>
        </p:nvSpPr>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smtClean="0"/>
              <a:t>4/26/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smtClean="0"/>
              <a:t>‹N›</a:t>
            </a:fld>
            <a:endParaRPr lang="en-US" dirty="0"/>
          </a:p>
        </p:txBody>
      </p:sp>
    </p:spTree>
    <p:extLst>
      <p:ext uri="{BB962C8B-B14F-4D97-AF65-F5344CB8AC3E}">
        <p14:creationId xmlns:p14="http://schemas.microsoft.com/office/powerpoint/2010/main" val="6160723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Intestazione sezione">
    <p:spTree>
      <p:nvGrpSpPr>
        <p:cNvPr id="1" name=""/>
        <p:cNvGrpSpPr/>
        <p:nvPr/>
      </p:nvGrpSpPr>
      <p:grpSpPr>
        <a:xfrm>
          <a:off x="0" y="0"/>
          <a:ext cx="0" cy="0"/>
          <a:chOff x="0" y="0"/>
          <a:chExt cx="0" cy="0"/>
        </a:xfrm>
      </p:grpSpPr>
      <p:pic>
        <p:nvPicPr>
          <p:cNvPr id="8" name="Picture 7" descr="C2-HD-BTM.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685800" y="753533"/>
            <a:ext cx="10820399" cy="2801935"/>
          </a:xfrm>
        </p:spPr>
        <p:txBody>
          <a:bodyPr anchor="b">
            <a:normAutofit/>
          </a:bodyPr>
          <a:lstStyle>
            <a:lvl1pPr algn="r">
              <a:defRPr sz="4000"/>
            </a:lvl1pPr>
          </a:lstStyle>
          <a:p>
            <a:r>
              <a:rPr lang="it-IT"/>
              <a:t>Fare clic per modificare lo stile del titolo dello schema</a:t>
            </a:r>
            <a:endParaRPr lang="en-US" dirty="0"/>
          </a:p>
        </p:txBody>
      </p:sp>
      <p:sp>
        <p:nvSpPr>
          <p:cNvPr id="3" name="Text Placeholder 2"/>
          <p:cNvSpPr>
            <a:spLocks noGrp="1"/>
          </p:cNvSpPr>
          <p:nvPr>
            <p:ph type="body" idx="1"/>
          </p:nvPr>
        </p:nvSpPr>
        <p:spPr>
          <a:xfrm>
            <a:off x="1024467" y="3641725"/>
            <a:ext cx="10490200" cy="955675"/>
          </a:xfrm>
        </p:spPr>
        <p:txBody>
          <a:bodyPr>
            <a:normAutofit/>
          </a:bodyPr>
          <a:lstStyle>
            <a:lvl1pPr marL="0" indent="0" algn="r">
              <a:buNone/>
              <a:defRPr sz="22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it-IT"/>
              <a:t>Fare clic per modificare gli stili del testo dello schema</a:t>
            </a:r>
          </a:p>
        </p:txBody>
      </p:sp>
      <p:sp>
        <p:nvSpPr>
          <p:cNvPr id="4" name="Date Placeholder 3"/>
          <p:cNvSpPr>
            <a:spLocks noGrp="1"/>
          </p:cNvSpPr>
          <p:nvPr>
            <p:ph type="dt" sz="half" idx="10"/>
          </p:nvPr>
        </p:nvSpPr>
        <p:spPr>
          <a:xfrm>
            <a:off x="7814452" y="381000"/>
            <a:ext cx="2910840" cy="365125"/>
          </a:xfrm>
        </p:spPr>
        <p:txBody>
          <a:bodyPr/>
          <a:lstStyle>
            <a:lvl1pPr algn="r">
              <a:defRPr/>
            </a:lvl1pPr>
          </a:lstStyle>
          <a:p>
            <a:fld id="{48A87A34-81AB-432B-8DAE-1953F412C126}" type="datetimeFigureOut">
              <a:rPr lang="en-US" smtClean="0"/>
              <a:pPr/>
              <a:t>4/26/2023</a:t>
            </a:fld>
            <a:endParaRPr lang="en-US" dirty="0"/>
          </a:p>
        </p:txBody>
      </p:sp>
      <p:sp>
        <p:nvSpPr>
          <p:cNvPr id="5" name="Footer Placeholder 4"/>
          <p:cNvSpPr>
            <a:spLocks noGrp="1"/>
          </p:cNvSpPr>
          <p:nvPr>
            <p:ph type="ftr" sz="quarter" idx="11"/>
          </p:nvPr>
        </p:nvSpPr>
        <p:spPr>
          <a:xfrm>
            <a:off x="685800" y="381001"/>
            <a:ext cx="6991492" cy="364065"/>
          </a:xfrm>
        </p:spPr>
        <p:txBody>
          <a:bodyPr/>
          <a:lstStyle/>
          <a:p>
            <a:endParaRPr lang="en-US" dirty="0"/>
          </a:p>
        </p:txBody>
      </p:sp>
      <p:sp>
        <p:nvSpPr>
          <p:cNvPr id="6" name="Slide Number Placeholder 5"/>
          <p:cNvSpPr>
            <a:spLocks noGrp="1"/>
          </p:cNvSpPr>
          <p:nvPr>
            <p:ph type="sldNum" sz="quarter" idx="12"/>
          </p:nvPr>
        </p:nvSpPr>
        <p:spPr>
          <a:xfrm>
            <a:off x="10862452" y="381000"/>
            <a:ext cx="643748" cy="365125"/>
          </a:xfrm>
        </p:spPr>
        <p:txBody>
          <a:bodyPr/>
          <a:lstStyle/>
          <a:p>
            <a:fld id="{6D22F896-40B5-4ADD-8801-0D06FADFA095}" type="slidenum">
              <a:rPr lang="en-US" smtClean="0"/>
              <a:t>‹N›</a:t>
            </a:fld>
            <a:endParaRPr lang="en-US" dirty="0"/>
          </a:p>
        </p:txBody>
      </p:sp>
    </p:spTree>
    <p:extLst>
      <p:ext uri="{BB962C8B-B14F-4D97-AF65-F5344CB8AC3E}">
        <p14:creationId xmlns:p14="http://schemas.microsoft.com/office/powerpoint/2010/main" val="15122837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Content Placeholder 2"/>
          <p:cNvSpPr>
            <a:spLocks noGrp="1"/>
          </p:cNvSpPr>
          <p:nvPr>
            <p:ph sz="half" idx="1"/>
          </p:nvPr>
        </p:nvSpPr>
        <p:spPr>
          <a:xfrm>
            <a:off x="685800" y="2194559"/>
            <a:ext cx="5334000" cy="4024125"/>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Content Placeholder 3"/>
          <p:cNvSpPr>
            <a:spLocks noGrp="1"/>
          </p:cNvSpPr>
          <p:nvPr>
            <p:ph sz="half" idx="2"/>
          </p:nvPr>
        </p:nvSpPr>
        <p:spPr>
          <a:xfrm>
            <a:off x="6172200" y="2194559"/>
            <a:ext cx="5334000" cy="4024125"/>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smtClean="0"/>
              <a:t>4/26/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smtClean="0"/>
              <a:t>‹N›</a:t>
            </a:fld>
            <a:endParaRPr lang="en-US" dirty="0"/>
          </a:p>
        </p:txBody>
      </p:sp>
    </p:spTree>
    <p:extLst>
      <p:ext uri="{BB962C8B-B14F-4D97-AF65-F5344CB8AC3E}">
        <p14:creationId xmlns:p14="http://schemas.microsoft.com/office/powerpoint/2010/main" val="21209097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le 1"/>
          <p:cNvSpPr>
            <a:spLocks noGrp="1"/>
          </p:cNvSpPr>
          <p:nvPr>
            <p:ph type="title"/>
          </p:nvPr>
        </p:nvSpPr>
        <p:spPr>
          <a:xfrm>
            <a:off x="2895600" y="762000"/>
            <a:ext cx="8610600" cy="1295400"/>
          </a:xfrm>
        </p:spPr>
        <p:txBody>
          <a:bodyPr/>
          <a:lstStyle/>
          <a:p>
            <a:r>
              <a:rPr lang="it-IT"/>
              <a:t>Fare clic per modificare lo stile del titolo dello schema</a:t>
            </a:r>
            <a:endParaRPr lang="en-US" dirty="0"/>
          </a:p>
        </p:txBody>
      </p:sp>
      <p:sp>
        <p:nvSpPr>
          <p:cNvPr id="3" name="Text Placeholder 2"/>
          <p:cNvSpPr>
            <a:spLocks noGrp="1"/>
          </p:cNvSpPr>
          <p:nvPr>
            <p:ph type="body" idx="1"/>
          </p:nvPr>
        </p:nvSpPr>
        <p:spPr>
          <a:xfrm>
            <a:off x="914409" y="2183802"/>
            <a:ext cx="5079991" cy="823912"/>
          </a:xfrm>
        </p:spPr>
        <p:txBody>
          <a:bodyPr anchor="b">
            <a:normAutofit/>
          </a:bodyPr>
          <a:lstStyle>
            <a:lvl1pPr marL="0" indent="0">
              <a:buNone/>
              <a:defRPr sz="2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4" name="Content Placeholder 3"/>
          <p:cNvSpPr>
            <a:spLocks noGrp="1"/>
          </p:cNvSpPr>
          <p:nvPr>
            <p:ph sz="half" idx="2"/>
          </p:nvPr>
        </p:nvSpPr>
        <p:spPr>
          <a:xfrm>
            <a:off x="685800" y="3132666"/>
            <a:ext cx="5311775" cy="3086019"/>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5" name="Text Placeholder 4"/>
          <p:cNvSpPr>
            <a:spLocks noGrp="1"/>
          </p:cNvSpPr>
          <p:nvPr>
            <p:ph type="body" sz="quarter" idx="3"/>
          </p:nvPr>
        </p:nvSpPr>
        <p:spPr>
          <a:xfrm>
            <a:off x="6400800" y="2183802"/>
            <a:ext cx="5105400" cy="823912"/>
          </a:xfrm>
        </p:spPr>
        <p:txBody>
          <a:bodyPr anchor="b">
            <a:normAutofit/>
          </a:bodyPr>
          <a:lstStyle>
            <a:lvl1pPr marL="0" indent="0">
              <a:buNone/>
              <a:defRPr sz="2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6" name="Content Placeholder 5"/>
          <p:cNvSpPr>
            <a:spLocks noGrp="1"/>
          </p:cNvSpPr>
          <p:nvPr>
            <p:ph sz="quarter" idx="4"/>
          </p:nvPr>
        </p:nvSpPr>
        <p:spPr>
          <a:xfrm>
            <a:off x="6172200" y="3132666"/>
            <a:ext cx="5334000" cy="3086019"/>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smtClean="0"/>
              <a:t>4/26/202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smtClean="0"/>
              <a:t>‹N›</a:t>
            </a:fld>
            <a:endParaRPr lang="en-US" dirty="0"/>
          </a:p>
        </p:txBody>
      </p:sp>
    </p:spTree>
    <p:extLst>
      <p:ext uri="{BB962C8B-B14F-4D97-AF65-F5344CB8AC3E}">
        <p14:creationId xmlns:p14="http://schemas.microsoft.com/office/powerpoint/2010/main" val="16708078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smtClean="0"/>
              <a:t>4/26/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smtClean="0"/>
              <a:t>‹N›</a:t>
            </a:fld>
            <a:endParaRPr lang="en-US" dirty="0"/>
          </a:p>
        </p:txBody>
      </p:sp>
    </p:spTree>
    <p:extLst>
      <p:ext uri="{BB962C8B-B14F-4D97-AF65-F5344CB8AC3E}">
        <p14:creationId xmlns:p14="http://schemas.microsoft.com/office/powerpoint/2010/main" val="42657797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smtClean="0"/>
              <a:t>4/26/202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smtClean="0"/>
              <a:t>‹N›</a:t>
            </a:fld>
            <a:endParaRPr lang="en-US" dirty="0"/>
          </a:p>
        </p:txBody>
      </p:sp>
    </p:spTree>
    <p:extLst>
      <p:ext uri="{BB962C8B-B14F-4D97-AF65-F5344CB8AC3E}">
        <p14:creationId xmlns:p14="http://schemas.microsoft.com/office/powerpoint/2010/main" val="27616645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le 1"/>
          <p:cNvSpPr>
            <a:spLocks noGrp="1"/>
          </p:cNvSpPr>
          <p:nvPr>
            <p:ph type="title"/>
          </p:nvPr>
        </p:nvSpPr>
        <p:spPr>
          <a:xfrm>
            <a:off x="685800" y="1524000"/>
            <a:ext cx="4114800" cy="1600200"/>
          </a:xfrm>
        </p:spPr>
        <p:txBody>
          <a:bodyPr anchor="b"/>
          <a:lstStyle>
            <a:lvl1pPr algn="l">
              <a:defRPr sz="3200"/>
            </a:lvl1pPr>
          </a:lstStyle>
          <a:p>
            <a:r>
              <a:rPr lang="it-IT"/>
              <a:t>Fare clic per modificare lo stile del titolo dello schema</a:t>
            </a:r>
            <a:endParaRPr lang="en-US" dirty="0"/>
          </a:p>
        </p:txBody>
      </p:sp>
      <p:sp>
        <p:nvSpPr>
          <p:cNvPr id="3" name="Content Placeholder 2"/>
          <p:cNvSpPr>
            <a:spLocks noGrp="1"/>
          </p:cNvSpPr>
          <p:nvPr>
            <p:ph idx="1"/>
          </p:nvPr>
        </p:nvSpPr>
        <p:spPr>
          <a:xfrm>
            <a:off x="4995582" y="746759"/>
            <a:ext cx="6510618" cy="5471925"/>
          </a:xfrm>
        </p:spPr>
        <p:txBody>
          <a:bodyPr anchor="ct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Text Placeholder 3"/>
          <p:cNvSpPr>
            <a:spLocks noGrp="1"/>
          </p:cNvSpPr>
          <p:nvPr>
            <p:ph type="body" sz="half" idx="2"/>
          </p:nvPr>
        </p:nvSpPr>
        <p:spPr>
          <a:xfrm>
            <a:off x="685800" y="3124199"/>
            <a:ext cx="4114800" cy="309448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Date Placeholder 4"/>
          <p:cNvSpPr>
            <a:spLocks noGrp="1"/>
          </p:cNvSpPr>
          <p:nvPr>
            <p:ph type="dt" sz="half" idx="10"/>
          </p:nvPr>
        </p:nvSpPr>
        <p:spPr/>
        <p:txBody>
          <a:bodyPr/>
          <a:lstStyle/>
          <a:p>
            <a:fld id="{48A87A34-81AB-432B-8DAE-1953F412C126}" type="datetimeFigureOut">
              <a:rPr lang="en-US" smtClean="0"/>
              <a:t>4/26/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smtClean="0"/>
              <a:t>‹N›</a:t>
            </a:fld>
            <a:endParaRPr lang="en-US" dirty="0"/>
          </a:p>
        </p:txBody>
      </p:sp>
    </p:spTree>
    <p:extLst>
      <p:ext uri="{BB962C8B-B14F-4D97-AF65-F5344CB8AC3E}">
        <p14:creationId xmlns:p14="http://schemas.microsoft.com/office/powerpoint/2010/main" val="14355887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le 1"/>
          <p:cNvSpPr>
            <a:spLocks noGrp="1"/>
          </p:cNvSpPr>
          <p:nvPr>
            <p:ph type="title"/>
          </p:nvPr>
        </p:nvSpPr>
        <p:spPr>
          <a:xfrm>
            <a:off x="685800" y="1524000"/>
            <a:ext cx="6873240" cy="1600200"/>
          </a:xfrm>
        </p:spPr>
        <p:txBody>
          <a:bodyPr anchor="b"/>
          <a:lstStyle>
            <a:lvl1pPr algn="l">
              <a:defRPr sz="3200"/>
            </a:lvl1pPr>
          </a:lstStyle>
          <a:p>
            <a:r>
              <a:rPr lang="it-IT"/>
              <a:t>Fare clic per modificare lo stile del titolo dello schema</a:t>
            </a:r>
            <a:endParaRPr lang="en-US" dirty="0"/>
          </a:p>
        </p:txBody>
      </p:sp>
      <p:sp>
        <p:nvSpPr>
          <p:cNvPr id="3" name="Picture Placeholder 2"/>
          <p:cNvSpPr>
            <a:spLocks noGrp="1" noChangeAspect="1"/>
          </p:cNvSpPr>
          <p:nvPr>
            <p:ph type="pic" idx="1"/>
          </p:nvPr>
        </p:nvSpPr>
        <p:spPr>
          <a:xfrm>
            <a:off x="7861238" y="751241"/>
            <a:ext cx="3644962" cy="5467443"/>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it-IT"/>
              <a:t>Fare clic sull'icona per inserire un'immagine</a:t>
            </a:r>
            <a:endParaRPr lang="en-US" dirty="0"/>
          </a:p>
        </p:txBody>
      </p:sp>
      <p:sp>
        <p:nvSpPr>
          <p:cNvPr id="4" name="Text Placeholder 3"/>
          <p:cNvSpPr>
            <a:spLocks noGrp="1"/>
          </p:cNvSpPr>
          <p:nvPr>
            <p:ph type="body" sz="half" idx="2"/>
          </p:nvPr>
        </p:nvSpPr>
        <p:spPr>
          <a:xfrm>
            <a:off x="685800" y="3124199"/>
            <a:ext cx="6873240" cy="309448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Date Placeholder 4"/>
          <p:cNvSpPr>
            <a:spLocks noGrp="1"/>
          </p:cNvSpPr>
          <p:nvPr>
            <p:ph type="dt" sz="half" idx="10"/>
          </p:nvPr>
        </p:nvSpPr>
        <p:spPr/>
        <p:txBody>
          <a:bodyPr/>
          <a:lstStyle/>
          <a:p>
            <a:fld id="{48A87A34-81AB-432B-8DAE-1953F412C126}" type="datetimeFigureOut">
              <a:rPr lang="en-US" smtClean="0"/>
              <a:t>4/26/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smtClean="0"/>
              <a:t>‹N›</a:t>
            </a:fld>
            <a:endParaRPr lang="en-US" dirty="0"/>
          </a:p>
        </p:txBody>
      </p:sp>
    </p:spTree>
    <p:extLst>
      <p:ext uri="{BB962C8B-B14F-4D97-AF65-F5344CB8AC3E}">
        <p14:creationId xmlns:p14="http://schemas.microsoft.com/office/powerpoint/2010/main" val="30948065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Picture 7" descr="C2-HD-TOP.png"/>
          <p:cNvPicPr>
            <a:picLocks noChangeAspect="1"/>
          </p:cNvPicPr>
          <p:nvPr/>
        </p:nvPicPr>
        <p:blipFill>
          <a:blip r:embed="rId21">
            <a:extLst>
              <a:ext uri="{28A0092B-C50C-407E-A947-70E740481C1C}">
                <a14:useLocalDpi xmlns:a14="http://schemas.microsoft.com/office/drawing/2010/main"/>
              </a:ext>
            </a:extLst>
          </a:blip>
          <a:stretch>
            <a:fillRect/>
          </a:stretch>
        </p:blipFill>
        <p:spPr>
          <a:xfrm>
            <a:off x="0" y="0"/>
            <a:ext cx="12192000" cy="1441450"/>
          </a:xfrm>
          <a:prstGeom prst="rect">
            <a:avLst/>
          </a:prstGeom>
        </p:spPr>
      </p:pic>
      <p:sp>
        <p:nvSpPr>
          <p:cNvPr id="2" name="Title Placeholder 1"/>
          <p:cNvSpPr>
            <a:spLocks noGrp="1"/>
          </p:cNvSpPr>
          <p:nvPr>
            <p:ph type="title"/>
          </p:nvPr>
        </p:nvSpPr>
        <p:spPr>
          <a:xfrm>
            <a:off x="2895600" y="764373"/>
            <a:ext cx="8610600" cy="1293028"/>
          </a:xfrm>
          <a:prstGeom prst="rect">
            <a:avLst/>
          </a:prstGeom>
        </p:spPr>
        <p:txBody>
          <a:bodyPr vert="horz" lIns="91440" tIns="45720" rIns="91440" bIns="45720" rtlCol="0" anchor="ctr">
            <a:normAutofit/>
          </a:bodyPr>
          <a:lstStyle/>
          <a:p>
            <a:r>
              <a:rPr lang="it-IT"/>
              <a:t>Fare clic per modificare lo stile del titolo dello schema</a:t>
            </a:r>
            <a:endParaRPr lang="en-US" dirty="0"/>
          </a:p>
        </p:txBody>
      </p:sp>
      <p:sp>
        <p:nvSpPr>
          <p:cNvPr id="3" name="Text Placeholder 2"/>
          <p:cNvSpPr>
            <a:spLocks noGrp="1"/>
          </p:cNvSpPr>
          <p:nvPr>
            <p:ph type="body" idx="1"/>
          </p:nvPr>
        </p:nvSpPr>
        <p:spPr>
          <a:xfrm>
            <a:off x="685800" y="2194560"/>
            <a:ext cx="10820400" cy="4024125"/>
          </a:xfrm>
          <a:prstGeom prst="rect">
            <a:avLst/>
          </a:prstGeom>
        </p:spPr>
        <p:txBody>
          <a:bodyPr vert="horz" lIns="91440" tIns="45720" rIns="91440" bIns="45720" rtlCol="0">
            <a:normAutofit/>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2"/>
          </p:nvPr>
        </p:nvSpPr>
        <p:spPr>
          <a:xfrm>
            <a:off x="8595360" y="6356350"/>
            <a:ext cx="291084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48A87A34-81AB-432B-8DAE-1953F412C126}" type="datetimeFigureOut">
              <a:rPr lang="en-US" smtClean="0"/>
              <a:pPr/>
              <a:t>4/26/2023</a:t>
            </a:fld>
            <a:endParaRPr lang="en-US" dirty="0"/>
          </a:p>
        </p:txBody>
      </p:sp>
      <p:sp>
        <p:nvSpPr>
          <p:cNvPr id="5" name="Footer Placeholder 4"/>
          <p:cNvSpPr>
            <a:spLocks noGrp="1"/>
          </p:cNvSpPr>
          <p:nvPr>
            <p:ph type="ftr" sz="quarter" idx="3"/>
          </p:nvPr>
        </p:nvSpPr>
        <p:spPr>
          <a:xfrm>
            <a:off x="685800" y="6355845"/>
            <a:ext cx="7772400" cy="365125"/>
          </a:xfrm>
          <a:prstGeom prst="rect">
            <a:avLst/>
          </a:prstGeom>
        </p:spPr>
        <p:txBody>
          <a:bodyPr vert="horz" lIns="91440" tIns="45720" rIns="91440" bIns="45720" rtlCol="0" anchor="ctr"/>
          <a:lstStyle>
            <a:lvl1pPr algn="l">
              <a:defRPr sz="105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63000" y="381000"/>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6D22F896-40B5-4ADD-8801-0D06FADFA095}" type="slidenum">
              <a:rPr lang="en-US" smtClean="0"/>
              <a:pPr/>
              <a:t>‹N›</a:t>
            </a:fld>
            <a:endParaRPr lang="en-US" dirty="0"/>
          </a:p>
        </p:txBody>
      </p:sp>
    </p:spTree>
    <p:extLst>
      <p:ext uri="{BB962C8B-B14F-4D97-AF65-F5344CB8AC3E}">
        <p14:creationId xmlns:p14="http://schemas.microsoft.com/office/powerpoint/2010/main" val="4203812532"/>
      </p:ext>
    </p:extLst>
  </p:cSld>
  <p:clrMap bg1="lt1" tx1="dk1" bg2="lt2" tx2="dk2" accent1="accent1" accent2="accent2" accent3="accent3" accent4="accent4" accent5="accent5" accent6="accent6" hlink="hlink" folHlink="folHlink"/>
  <p:sldLayoutIdLst>
    <p:sldLayoutId id="2147483940" r:id="rId1"/>
    <p:sldLayoutId id="2147483941" r:id="rId2"/>
    <p:sldLayoutId id="2147483942" r:id="rId3"/>
    <p:sldLayoutId id="2147483943" r:id="rId4"/>
    <p:sldLayoutId id="2147483944" r:id="rId5"/>
    <p:sldLayoutId id="2147483945" r:id="rId6"/>
    <p:sldLayoutId id="2147483946" r:id="rId7"/>
    <p:sldLayoutId id="2147483947" r:id="rId8"/>
    <p:sldLayoutId id="2147483948" r:id="rId9"/>
    <p:sldLayoutId id="2147483949" r:id="rId10"/>
    <p:sldLayoutId id="2147483950" r:id="rId11"/>
    <p:sldLayoutId id="2147483951" r:id="rId12"/>
    <p:sldLayoutId id="2147483952" r:id="rId13"/>
    <p:sldLayoutId id="2147483953" r:id="rId14"/>
    <p:sldLayoutId id="2147483954" r:id="rId15"/>
    <p:sldLayoutId id="2147483955" r:id="rId16"/>
    <p:sldLayoutId id="2147483956" r:id="rId17"/>
    <p:sldLayoutId id="2147483957" r:id="rId18"/>
    <p:sldLayoutId id="2147483958" r:id="rId19"/>
  </p:sldLayoutIdLst>
  <p:txStyles>
    <p:titleStyle>
      <a:lvl1pPr algn="r" defTabSz="914400" rtl="0" eaLnBrk="1" latinLnBrk="0" hangingPunct="1">
        <a:lnSpc>
          <a:spcPct val="90000"/>
        </a:lnSpc>
        <a:spcBef>
          <a:spcPct val="0"/>
        </a:spcBef>
        <a:buNone/>
        <a:defRPr sz="4000" kern="1200" cap="all" baseline="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hyperlink" Target="mailto:STEFANO.PALCIC@units.it" TargetMode="External"/><Relationship Id="rId4" Type="http://schemas.openxmlformats.org/officeDocument/2006/relationships/hyperlink" Target="mailto:stefano.palcic@asugi.sanita.fvg.it"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1.png"/><Relationship Id="rId1" Type="http://schemas.openxmlformats.org/officeDocument/2006/relationships/slideLayout" Target="../slideLayouts/slideLayout2.xml"/><Relationship Id="rId5" Type="http://schemas.microsoft.com/office/2007/relationships/hdphoto" Target="../media/hdphoto3.wdp"/><Relationship Id="rId4" Type="http://schemas.openxmlformats.org/officeDocument/2006/relationships/image" Target="../media/image12.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5.png"/><Relationship Id="rId1" Type="http://schemas.openxmlformats.org/officeDocument/2006/relationships/slideLayout" Target="../slideLayouts/slideLayout2.x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chart" Target="../charts/char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5.png"/><Relationship Id="rId1" Type="http://schemas.openxmlformats.org/officeDocument/2006/relationships/slideLayout" Target="../slideLayouts/slideLayout18.xml"/><Relationship Id="rId4" Type="http://schemas.openxmlformats.org/officeDocument/2006/relationships/image" Target="../media/image18.emf"/></Relationships>
</file>

<file path=ppt/slides/_rels/slide21.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15.png"/><Relationship Id="rId1" Type="http://schemas.openxmlformats.org/officeDocument/2006/relationships/slideLayout" Target="../slideLayouts/slideLayout7.xml"/><Relationship Id="rId4" Type="http://schemas.openxmlformats.org/officeDocument/2006/relationships/image" Target="../media/image19.png"/></Relationships>
</file>

<file path=ppt/slides/_rels/slide22.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15.png"/><Relationship Id="rId1" Type="http://schemas.openxmlformats.org/officeDocument/2006/relationships/slideLayout" Target="../slideLayouts/slideLayout18.xml"/><Relationship Id="rId4" Type="http://schemas.openxmlformats.org/officeDocument/2006/relationships/image" Target="../media/image20.emf"/></Relationships>
</file>

<file path=ppt/slides/_rels/slide2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21.png"/><Relationship Id="rId4" Type="http://schemas.microsoft.com/office/2007/relationships/hdphoto" Target="../media/hdphoto8.wdp"/></Relationships>
</file>

<file path=ppt/slides/_rels/slide24.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15.png"/><Relationship Id="rId1" Type="http://schemas.openxmlformats.org/officeDocument/2006/relationships/slideLayout" Target="../slideLayouts/slideLayout6.xml"/><Relationship Id="rId4" Type="http://schemas.openxmlformats.org/officeDocument/2006/relationships/chart" Target="../charts/chart4.xml"/></Relationships>
</file>

<file path=ppt/slides/_rels/slide2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22.png"/><Relationship Id="rId4" Type="http://schemas.microsoft.com/office/2007/relationships/hdphoto" Target="../media/hdphoto9.wdp"/></Relationships>
</file>

<file path=ppt/slides/_rels/slide2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tags" Target="../tags/tag2.xml"/><Relationship Id="rId7" Type="http://schemas.openxmlformats.org/officeDocument/2006/relationships/oleObject" Target="../embeddings/oleObject1.bin"/><Relationship Id="rId12" Type="http://schemas.openxmlformats.org/officeDocument/2006/relationships/image" Target="../media/image26.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Layout" Target="../slideLayouts/slideLayout7.xml"/><Relationship Id="rId11" Type="http://schemas.openxmlformats.org/officeDocument/2006/relationships/oleObject" Target="../embeddings/oleObject3.bin"/><Relationship Id="rId5" Type="http://schemas.openxmlformats.org/officeDocument/2006/relationships/tags" Target="../tags/tag4.xml"/><Relationship Id="rId10" Type="http://schemas.openxmlformats.org/officeDocument/2006/relationships/image" Target="../media/image25.emf"/><Relationship Id="rId4" Type="http://schemas.openxmlformats.org/officeDocument/2006/relationships/tags" Target="../tags/tag3.xml"/><Relationship Id="rId9" Type="http://schemas.openxmlformats.org/officeDocument/2006/relationships/oleObject" Target="../embeddings/oleObject2.bin"/></Relationships>
</file>

<file path=ppt/slides/_rels/slide32.xml.rels><?xml version="1.0" encoding="UTF-8" standalone="yes"?>
<Relationships xmlns="http://schemas.openxmlformats.org/package/2006/relationships"><Relationship Id="rId8" Type="http://schemas.openxmlformats.org/officeDocument/2006/relationships/image" Target="../media/image27.emf"/><Relationship Id="rId3" Type="http://schemas.openxmlformats.org/officeDocument/2006/relationships/tags" Target="../tags/tag6.xml"/><Relationship Id="rId7" Type="http://schemas.openxmlformats.org/officeDocument/2006/relationships/oleObject" Target="../embeddings/oleObject4.bin"/><Relationship Id="rId12" Type="http://schemas.openxmlformats.org/officeDocument/2006/relationships/image" Target="../media/image29.emf"/><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slideLayout" Target="../slideLayouts/slideLayout7.xml"/><Relationship Id="rId11" Type="http://schemas.openxmlformats.org/officeDocument/2006/relationships/oleObject" Target="../embeddings/oleObject6.bin"/><Relationship Id="rId5" Type="http://schemas.openxmlformats.org/officeDocument/2006/relationships/tags" Target="../tags/tag8.xml"/><Relationship Id="rId10" Type="http://schemas.openxmlformats.org/officeDocument/2006/relationships/image" Target="../media/image28.emf"/><Relationship Id="rId4" Type="http://schemas.openxmlformats.org/officeDocument/2006/relationships/tags" Target="../tags/tag7.xml"/><Relationship Id="rId9" Type="http://schemas.openxmlformats.org/officeDocument/2006/relationships/oleObject" Target="../embeddings/oleObject5.bin"/></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microsoft.com/office/2007/relationships/hdphoto" Target="../media/hdphoto9.wdp"/></Relationships>
</file>

<file path=ppt/slides/_rels/slide38.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15.png"/><Relationship Id="rId7" Type="http://schemas.openxmlformats.org/officeDocument/2006/relationships/image" Target="../media/image33.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32.png"/><Relationship Id="rId5" Type="http://schemas.openxmlformats.org/officeDocument/2006/relationships/image" Target="../media/image31.png"/><Relationship Id="rId4" Type="http://schemas.microsoft.com/office/2007/relationships/hdphoto" Target="../media/hdphoto9.wdp"/></Relationships>
</file>

<file path=ppt/slides/_rels/slide39.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8" Type="http://schemas.openxmlformats.org/officeDocument/2006/relationships/image" Target="NULL"/><Relationship Id="rId3" Type="http://schemas.openxmlformats.org/officeDocument/2006/relationships/image" Target="../media/image37.png"/><Relationship Id="rId7" Type="http://schemas.openxmlformats.org/officeDocument/2006/relationships/image" Target="../media/image39.png"/><Relationship Id="rId2" Type="http://schemas.openxmlformats.org/officeDocument/2006/relationships/image" Target="../media/image36.png"/><Relationship Id="rId1" Type="http://schemas.openxmlformats.org/officeDocument/2006/relationships/slideLayout" Target="../slideLayouts/slideLayout19.xml"/><Relationship Id="rId6" Type="http://schemas.openxmlformats.org/officeDocument/2006/relationships/image" Target="NULL"/><Relationship Id="rId5" Type="http://schemas.openxmlformats.org/officeDocument/2006/relationships/image" Target="../media/image38.png"/><Relationship Id="rId4" Type="http://schemas.openxmlformats.org/officeDocument/2006/relationships/image" Target="NUL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chart" Target="../charts/chart12.xml"/><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hyperlink" Target="mailto:stefano.palcic@asugi.sanita.fvg.it" TargetMode="Externa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chart" Target="../charts/chart2.xml"/><Relationship Id="rId5" Type="http://schemas.openxmlformats.org/officeDocument/2006/relationships/chart" Target="../charts/chart1.xml"/><Relationship Id="rId4" Type="http://schemas.microsoft.com/office/2007/relationships/hdphoto" Target="../media/hdphoto1.wdp"/></Relationships>
</file>

<file path=ppt/slides/_rels/slide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30" name="Picture 6" descr="India, trial clinici bloccati&quot;Mai più test a danno dei malati&quot; - la  Repubblica">
            <a:extLst>
              <a:ext uri="{FF2B5EF4-FFF2-40B4-BE49-F238E27FC236}">
                <a16:creationId xmlns:a16="http://schemas.microsoft.com/office/drawing/2014/main" id="{A3BF3812-AD09-0C49-ABF2-817705063C21}"/>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814047" y="1490132"/>
            <a:ext cx="3122592" cy="3471333"/>
          </a:xfrm>
          <a:prstGeom prst="rect">
            <a:avLst/>
          </a:prstGeom>
          <a:noFill/>
          <a:extLst>
            <a:ext uri="{909E8E84-426E-40DD-AFC4-6F175D3DCCD1}">
              <a14:hiddenFill xmlns:a14="http://schemas.microsoft.com/office/drawing/2010/main">
                <a:solidFill>
                  <a:srgbClr val="FFFFFF"/>
                </a:solidFill>
              </a14:hiddenFill>
            </a:ext>
          </a:extLst>
        </p:spPr>
      </p:pic>
      <p:sp>
        <p:nvSpPr>
          <p:cNvPr id="3" name="Rettangolo 2"/>
          <p:cNvSpPr/>
          <p:nvPr/>
        </p:nvSpPr>
        <p:spPr>
          <a:xfrm>
            <a:off x="3667225" y="779352"/>
            <a:ext cx="8316228" cy="5078313"/>
          </a:xfrm>
          <a:prstGeom prst="rect">
            <a:avLst/>
          </a:prstGeom>
        </p:spPr>
        <p:txBody>
          <a:bodyPr wrap="square">
            <a:spAutoFit/>
          </a:bodyPr>
          <a:lstStyle/>
          <a:p>
            <a:endParaRPr lang="it-IT" sz="4200" cap="all" dirty="0" smtClean="0">
              <a:solidFill>
                <a:prstClr val="black"/>
              </a:solidFill>
              <a:ea typeface="+mj-ea"/>
              <a:cs typeface="+mj-cs"/>
            </a:endParaRPr>
          </a:p>
          <a:p>
            <a:r>
              <a:rPr lang="it-IT" sz="4200" cap="all" dirty="0" err="1" smtClean="0">
                <a:solidFill>
                  <a:prstClr val="black"/>
                </a:solidFill>
                <a:ea typeface="+mj-ea"/>
                <a:cs typeface="+mj-cs"/>
              </a:rPr>
              <a:t>farmacoeconomia</a:t>
            </a:r>
            <a:endParaRPr lang="it-IT" b="1" dirty="0" smtClean="0"/>
          </a:p>
          <a:p>
            <a:endParaRPr lang="it-IT" sz="2000" b="1" dirty="0" smtClean="0"/>
          </a:p>
          <a:p>
            <a:endParaRPr lang="it-IT" sz="2000" b="1" dirty="0"/>
          </a:p>
          <a:p>
            <a:endParaRPr lang="it-IT" sz="2000" b="1" dirty="0" smtClean="0"/>
          </a:p>
          <a:p>
            <a:endParaRPr lang="it-IT" sz="2000" b="1" dirty="0" smtClean="0"/>
          </a:p>
          <a:p>
            <a:r>
              <a:rPr lang="it-IT" sz="2000" b="1" dirty="0" smtClean="0"/>
              <a:t>Stefano PALCIC </a:t>
            </a:r>
          </a:p>
          <a:p>
            <a:endParaRPr lang="it-IT" sz="2000" b="1" dirty="0" smtClean="0"/>
          </a:p>
          <a:p>
            <a:endParaRPr lang="it-IT" sz="2000" b="1" dirty="0"/>
          </a:p>
          <a:p>
            <a:r>
              <a:rPr lang="it-IT" sz="2000" b="1" dirty="0" smtClean="0"/>
              <a:t>Dirigente responsabile Farmaceutica convenzionata e per conto  </a:t>
            </a:r>
          </a:p>
          <a:p>
            <a:r>
              <a:rPr lang="it-IT" sz="2000" b="1" dirty="0" smtClean="0"/>
              <a:t>Azienda Sanitaria Universitaria Giuliano-</a:t>
            </a:r>
            <a:r>
              <a:rPr lang="it-IT" sz="2000" b="1" dirty="0" err="1"/>
              <a:t>I</a:t>
            </a:r>
            <a:r>
              <a:rPr lang="it-IT" sz="2000" b="1" dirty="0" err="1" smtClean="0"/>
              <a:t>sontina</a:t>
            </a:r>
            <a:r>
              <a:rPr lang="it-IT" sz="2000" b="1" dirty="0" smtClean="0"/>
              <a:t> (ASUGI)</a:t>
            </a:r>
          </a:p>
          <a:p>
            <a:endParaRPr lang="it-IT" dirty="0"/>
          </a:p>
          <a:p>
            <a:endParaRPr lang="it-IT" sz="4200" cap="all" dirty="0">
              <a:solidFill>
                <a:prstClr val="black"/>
              </a:solidFill>
              <a:ea typeface="+mj-ea"/>
              <a:cs typeface="+mj-cs"/>
            </a:endParaRPr>
          </a:p>
        </p:txBody>
      </p:sp>
      <p:sp>
        <p:nvSpPr>
          <p:cNvPr id="2" name="Rettangolo 1"/>
          <p:cNvSpPr/>
          <p:nvPr/>
        </p:nvSpPr>
        <p:spPr>
          <a:xfrm>
            <a:off x="3667225" y="5071011"/>
            <a:ext cx="3946914" cy="923330"/>
          </a:xfrm>
          <a:prstGeom prst="rect">
            <a:avLst/>
          </a:prstGeom>
        </p:spPr>
        <p:txBody>
          <a:bodyPr wrap="none">
            <a:spAutoFit/>
          </a:bodyPr>
          <a:lstStyle/>
          <a:p>
            <a:r>
              <a:rPr lang="it-IT" b="1" dirty="0" smtClean="0">
                <a:solidFill>
                  <a:srgbClr val="0432FF"/>
                </a:solidFill>
                <a:hlinkClick r:id="rId4"/>
              </a:rPr>
              <a:t>stefano.palcic@asugi.sanita.fvg.it</a:t>
            </a:r>
            <a:r>
              <a:rPr lang="it-IT" b="1" dirty="0" smtClean="0">
                <a:solidFill>
                  <a:srgbClr val="0432FF"/>
                </a:solidFill>
              </a:rPr>
              <a:t> </a:t>
            </a:r>
          </a:p>
          <a:p>
            <a:r>
              <a:rPr lang="it-IT" b="1" dirty="0" smtClean="0">
                <a:solidFill>
                  <a:srgbClr val="0432FF"/>
                </a:solidFill>
                <a:hlinkClick r:id="rId5"/>
              </a:rPr>
              <a:t>STEFANO.PALCIC@units.it</a:t>
            </a:r>
            <a:endParaRPr lang="it-IT" b="1" dirty="0" smtClean="0">
              <a:solidFill>
                <a:srgbClr val="0432FF"/>
              </a:solidFill>
            </a:endParaRPr>
          </a:p>
          <a:p>
            <a:endParaRPr lang="it-IT" b="1" dirty="0">
              <a:solidFill>
                <a:srgbClr val="0432FF"/>
              </a:solidFill>
            </a:endParaRPr>
          </a:p>
        </p:txBody>
      </p:sp>
    </p:spTree>
    <p:extLst>
      <p:ext uri="{BB962C8B-B14F-4D97-AF65-F5344CB8AC3E}">
        <p14:creationId xmlns:p14="http://schemas.microsoft.com/office/powerpoint/2010/main" val="154650621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Group 57"/>
          <p:cNvGraphicFramePr>
            <a:graphicFrameLocks/>
          </p:cNvGraphicFramePr>
          <p:nvPr>
            <p:extLst>
              <p:ext uri="{D42A27DB-BD31-4B8C-83A1-F6EECF244321}">
                <p14:modId xmlns:p14="http://schemas.microsoft.com/office/powerpoint/2010/main" val="1369541448"/>
              </p:ext>
            </p:extLst>
          </p:nvPr>
        </p:nvGraphicFramePr>
        <p:xfrm>
          <a:off x="1155033" y="438150"/>
          <a:ext cx="10193152" cy="6227766"/>
        </p:xfrm>
        <a:graphic>
          <a:graphicData uri="http://schemas.openxmlformats.org/drawingml/2006/table">
            <a:tbl>
              <a:tblPr/>
              <a:tblGrid>
                <a:gridCol w="3313603">
                  <a:extLst>
                    <a:ext uri="{9D8B030D-6E8A-4147-A177-3AD203B41FA5}">
                      <a16:colId xmlns:a16="http://schemas.microsoft.com/office/drawing/2014/main" val="20000"/>
                    </a:ext>
                  </a:extLst>
                </a:gridCol>
                <a:gridCol w="1449587">
                  <a:extLst>
                    <a:ext uri="{9D8B030D-6E8A-4147-A177-3AD203B41FA5}">
                      <a16:colId xmlns:a16="http://schemas.microsoft.com/office/drawing/2014/main" val="20001"/>
                    </a:ext>
                  </a:extLst>
                </a:gridCol>
                <a:gridCol w="1753502">
                  <a:extLst>
                    <a:ext uri="{9D8B030D-6E8A-4147-A177-3AD203B41FA5}">
                      <a16:colId xmlns:a16="http://schemas.microsoft.com/office/drawing/2014/main" val="20002"/>
                    </a:ext>
                  </a:extLst>
                </a:gridCol>
                <a:gridCol w="1970848">
                  <a:extLst>
                    <a:ext uri="{9D8B030D-6E8A-4147-A177-3AD203B41FA5}">
                      <a16:colId xmlns:a16="http://schemas.microsoft.com/office/drawing/2014/main" val="20003"/>
                    </a:ext>
                  </a:extLst>
                </a:gridCol>
                <a:gridCol w="1705612">
                  <a:extLst>
                    <a:ext uri="{9D8B030D-6E8A-4147-A177-3AD203B41FA5}">
                      <a16:colId xmlns:a16="http://schemas.microsoft.com/office/drawing/2014/main" val="20004"/>
                    </a:ext>
                  </a:extLst>
                </a:gridCol>
              </a:tblGrid>
              <a:tr h="836586">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dirty="0">
                          <a:ln>
                            <a:noFill/>
                          </a:ln>
                          <a:solidFill>
                            <a:schemeClr val="tx1"/>
                          </a:solidFill>
                          <a:effectLst/>
                          <a:latin typeface="Century Gothic" pitchFamily="34" charset="0"/>
                          <a:ea typeface="MS Pゴシック" pitchFamily="-92" charset="-128"/>
                        </a:rPr>
                        <a:t>                         </a:t>
                      </a:r>
                      <a:endParaRPr kumimoji="0" lang="it-IT" sz="1600" b="1" i="0" u="none" strike="noStrike" cap="none" normalizeH="0" baseline="0" dirty="0">
                        <a:ln>
                          <a:noFill/>
                        </a:ln>
                        <a:solidFill>
                          <a:srgbClr val="FF0066"/>
                        </a:solidFill>
                        <a:effectLst/>
                        <a:latin typeface="Century Gothic" pitchFamily="34" charset="0"/>
                        <a:ea typeface="MS Pゴシック" pitchFamily="-92" charset="-128"/>
                      </a:endParaRPr>
                    </a:p>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1" i="0" u="none" strike="noStrike" cap="none" normalizeH="0" baseline="0" dirty="0">
                          <a:ln>
                            <a:noFill/>
                          </a:ln>
                          <a:solidFill>
                            <a:schemeClr val="tx1"/>
                          </a:solidFill>
                          <a:effectLst/>
                          <a:latin typeface="Century Gothic" pitchFamily="34" charset="0"/>
                          <a:ea typeface="MS Pゴシック" pitchFamily="-92" charset="-128"/>
                        </a:rPr>
                        <a:t>                      </a:t>
                      </a:r>
                      <a:r>
                        <a:rPr kumimoji="0" lang="it-IT" sz="1600" b="0" i="0" u="none" strike="noStrike" cap="none" normalizeH="0" baseline="0" dirty="0" smtClean="0">
                          <a:ln>
                            <a:noFill/>
                          </a:ln>
                          <a:solidFill>
                            <a:schemeClr val="tx1"/>
                          </a:solidFill>
                          <a:effectLst/>
                          <a:latin typeface="Century Gothic" pitchFamily="34" charset="0"/>
                          <a:ea typeface="MS Pゴシック" pitchFamily="-92" charset="-128"/>
                        </a:rPr>
                        <a:t>         </a:t>
                      </a:r>
                      <a:endParaRPr kumimoji="0" lang="it-IT" sz="1600" b="0" i="0" u="none" strike="noStrike" cap="none" normalizeH="0" baseline="0" dirty="0">
                        <a:ln>
                          <a:noFill/>
                        </a:ln>
                        <a:solidFill>
                          <a:schemeClr val="tx1"/>
                        </a:solidFill>
                        <a:effectLst/>
                        <a:latin typeface="Century Gothic" pitchFamily="34" charset="0"/>
                        <a:ea typeface="MS Pゴシック" pitchFamily="-92" charset="-128"/>
                      </a:endParaRPr>
                    </a:p>
                  </a:txBody>
                  <a:tcPr marT="45713" marB="4571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1" i="0" u="none" strike="noStrike" cap="none" normalizeH="0" baseline="0" dirty="0">
                          <a:ln>
                            <a:noFill/>
                          </a:ln>
                          <a:solidFill>
                            <a:schemeClr val="accent2"/>
                          </a:solidFill>
                          <a:effectLst/>
                          <a:latin typeface="Century Gothic" pitchFamily="34" charset="0"/>
                          <a:ea typeface="MS Pゴシック" pitchFamily="-92" charset="-128"/>
                        </a:rPr>
                        <a:t>Ricerca clinica</a:t>
                      </a:r>
                    </a:p>
                  </a:txBody>
                  <a:tcPr marT="45713" marB="4571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1" i="0" u="none" strike="noStrike" cap="none" normalizeH="0" baseline="0" dirty="0" err="1" smtClean="0">
                          <a:ln>
                            <a:noFill/>
                          </a:ln>
                          <a:solidFill>
                            <a:schemeClr val="accent4">
                              <a:lumMod val="75000"/>
                            </a:schemeClr>
                          </a:solidFill>
                          <a:effectLst/>
                          <a:latin typeface="Century Gothic" pitchFamily="34" charset="0"/>
                          <a:ea typeface="MS Pゴシック" pitchFamily="-92" charset="-128"/>
                        </a:rPr>
                        <a:t>Outcome</a:t>
                      </a:r>
                      <a:endParaRPr kumimoji="0" lang="it-IT" sz="1600" b="1" i="0" u="none" strike="noStrike" cap="none" normalizeH="0" baseline="0" dirty="0" smtClean="0">
                        <a:ln>
                          <a:noFill/>
                        </a:ln>
                        <a:solidFill>
                          <a:schemeClr val="accent4">
                            <a:lumMod val="75000"/>
                          </a:schemeClr>
                        </a:solidFill>
                        <a:effectLst/>
                        <a:latin typeface="Century Gothic" pitchFamily="34" charset="0"/>
                        <a:ea typeface="MS Pゴシック" pitchFamily="-92" charset="-128"/>
                      </a:endParaRPr>
                    </a:p>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1" i="0" u="none" strike="noStrike" cap="none" normalizeH="0" baseline="0" dirty="0" err="1" smtClean="0">
                          <a:ln>
                            <a:noFill/>
                          </a:ln>
                          <a:solidFill>
                            <a:schemeClr val="accent4">
                              <a:lumMod val="75000"/>
                            </a:schemeClr>
                          </a:solidFill>
                          <a:effectLst/>
                          <a:latin typeface="Century Gothic" pitchFamily="34" charset="0"/>
                          <a:ea typeface="MS Pゴシック" pitchFamily="-92" charset="-128"/>
                        </a:rPr>
                        <a:t>Research</a:t>
                      </a:r>
                      <a:endParaRPr kumimoji="0" lang="it-IT" sz="1600" b="1" i="0" u="none" strike="noStrike" cap="none" normalizeH="0" baseline="0" dirty="0">
                        <a:ln>
                          <a:noFill/>
                        </a:ln>
                        <a:solidFill>
                          <a:schemeClr val="accent4">
                            <a:lumMod val="75000"/>
                          </a:schemeClr>
                        </a:solidFill>
                        <a:effectLst/>
                        <a:latin typeface="Century Gothic" pitchFamily="34" charset="0"/>
                        <a:ea typeface="MS Pゴシック" pitchFamily="-92" charset="-128"/>
                      </a:endParaRPr>
                    </a:p>
                  </a:txBody>
                  <a:tcPr marT="45713" marB="4571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1" i="0" u="none" strike="noStrike" cap="none" normalizeH="0" baseline="0">
                          <a:ln>
                            <a:noFill/>
                          </a:ln>
                          <a:solidFill>
                            <a:srgbClr val="339933"/>
                          </a:solidFill>
                          <a:effectLst/>
                          <a:latin typeface="Century Gothic" pitchFamily="34" charset="0"/>
                          <a:ea typeface="MS Pゴシック" pitchFamily="-92" charset="-128"/>
                        </a:rPr>
                        <a:t>F-Economia</a:t>
                      </a:r>
                    </a:p>
                  </a:txBody>
                  <a:tcPr marT="45713" marB="4571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1" i="0" u="none" strike="noStrike" cap="none" normalizeH="0" baseline="0" dirty="0">
                          <a:ln>
                            <a:noFill/>
                          </a:ln>
                          <a:solidFill>
                            <a:srgbClr val="FF6600"/>
                          </a:solidFill>
                          <a:effectLst/>
                          <a:latin typeface="Century Gothic" pitchFamily="34" charset="0"/>
                          <a:ea typeface="MS Pゴシック" pitchFamily="-92" charset="-128"/>
                        </a:rPr>
                        <a:t>EBM</a:t>
                      </a:r>
                    </a:p>
                  </a:txBody>
                  <a:tcPr marT="45713" marB="4571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extLst>
                  <a:ext uri="{0D108BD9-81ED-4DB2-BD59-A6C34878D82A}">
                    <a16:rowId xmlns:a16="http://schemas.microsoft.com/office/drawing/2014/main" val="10000"/>
                  </a:ext>
                </a:extLst>
              </a:tr>
              <a:tr h="920720">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1" i="0" u="none" strike="noStrike" cap="none" normalizeH="0" baseline="0" dirty="0">
                          <a:ln>
                            <a:noFill/>
                          </a:ln>
                          <a:solidFill>
                            <a:schemeClr val="tx1"/>
                          </a:solidFill>
                          <a:effectLst/>
                          <a:latin typeface="Tahoma" pitchFamily="34" charset="0"/>
                          <a:ea typeface="MS Pゴシック" pitchFamily="-92" charset="-128"/>
                        </a:rPr>
                        <a:t>Obiettivo</a:t>
                      </a:r>
                      <a:r>
                        <a:rPr kumimoji="0" lang="it-IT" sz="1600" b="0" i="0" u="none" strike="noStrike" cap="none" normalizeH="0" baseline="0" dirty="0">
                          <a:ln>
                            <a:noFill/>
                          </a:ln>
                          <a:solidFill>
                            <a:schemeClr val="tx1"/>
                          </a:solidFill>
                          <a:effectLst/>
                          <a:latin typeface="Tahoma" pitchFamily="34" charset="0"/>
                          <a:ea typeface="MS Pゴシック" pitchFamily="-92" charset="-128"/>
                        </a:rPr>
                        <a:t>       </a:t>
                      </a:r>
                      <a:endParaRPr kumimoji="0" lang="it-IT" sz="1600" b="0" i="0" u="none" strike="noStrike" cap="none" normalizeH="0" baseline="0" dirty="0">
                        <a:ln>
                          <a:noFill/>
                        </a:ln>
                        <a:solidFill>
                          <a:srgbClr val="FF0066"/>
                        </a:solidFill>
                        <a:effectLst/>
                        <a:latin typeface="Tahoma" pitchFamily="34" charset="0"/>
                        <a:ea typeface="MS Pゴシック" pitchFamily="-92" charset="-128"/>
                      </a:endParaRPr>
                    </a:p>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dirty="0">
                          <a:ln>
                            <a:noFill/>
                          </a:ln>
                          <a:solidFill>
                            <a:srgbClr val="FF0066"/>
                          </a:solidFill>
                          <a:effectLst/>
                          <a:latin typeface="Tahoma" pitchFamily="34" charset="0"/>
                          <a:ea typeface="MS Pゴシック" pitchFamily="-92" charset="-128"/>
                        </a:rPr>
                        <a:t>                     </a:t>
                      </a:r>
                    </a:p>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dirty="0">
                          <a:ln>
                            <a:noFill/>
                          </a:ln>
                          <a:solidFill>
                            <a:srgbClr val="FF0066"/>
                          </a:solidFill>
                          <a:effectLst/>
                          <a:latin typeface="Tahoma" pitchFamily="34" charset="0"/>
                          <a:ea typeface="MS Pゴシック" pitchFamily="-92" charset="-128"/>
                        </a:rPr>
                        <a:t>                        </a:t>
                      </a:r>
                      <a:r>
                        <a:rPr kumimoji="0" lang="it-IT" sz="1600" b="0" i="0" u="none" strike="noStrike" cap="none" normalizeH="0" baseline="0" dirty="0" smtClean="0">
                          <a:ln>
                            <a:noFill/>
                          </a:ln>
                          <a:solidFill>
                            <a:schemeClr val="tx1"/>
                          </a:solidFill>
                          <a:effectLst/>
                          <a:latin typeface="Tahoma" pitchFamily="34" charset="0"/>
                          <a:ea typeface="MS Pゴシック" pitchFamily="-92" charset="-128"/>
                        </a:rPr>
                        <a:t> </a:t>
                      </a:r>
                      <a:endParaRPr kumimoji="0" lang="it-IT" sz="1600" b="0" i="0" u="none" strike="noStrike" cap="none" normalizeH="0" baseline="0" dirty="0">
                        <a:ln>
                          <a:noFill/>
                        </a:ln>
                        <a:solidFill>
                          <a:schemeClr val="tx1"/>
                        </a:solidFill>
                        <a:effectLst/>
                        <a:latin typeface="Tahoma" pitchFamily="34" charset="0"/>
                        <a:ea typeface="MS Pゴシック" pitchFamily="-92" charset="-128"/>
                      </a:endParaRPr>
                    </a:p>
                  </a:txBody>
                  <a:tcPr marT="45713" marB="4571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a:ln>
                            <a:noFill/>
                          </a:ln>
                          <a:solidFill>
                            <a:schemeClr val="accent2"/>
                          </a:solidFill>
                          <a:effectLst/>
                          <a:latin typeface="Tahoma" pitchFamily="34" charset="0"/>
                          <a:ea typeface="MS Pゴシック" pitchFamily="-92" charset="-128"/>
                        </a:rPr>
                        <a:t>Efficacia clinica</a:t>
                      </a:r>
                    </a:p>
                  </a:txBody>
                  <a:tcPr marT="45713" marB="4571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dirty="0">
                          <a:ln>
                            <a:noFill/>
                          </a:ln>
                          <a:solidFill>
                            <a:schemeClr val="accent4">
                              <a:lumMod val="75000"/>
                            </a:schemeClr>
                          </a:solidFill>
                          <a:effectLst/>
                          <a:latin typeface="Tahoma" pitchFamily="34" charset="0"/>
                          <a:ea typeface="MS Pゴシック" pitchFamily="-92" charset="-128"/>
                        </a:rPr>
                        <a:t>Efficacia reale</a:t>
                      </a:r>
                    </a:p>
                  </a:txBody>
                  <a:tcPr marT="45713" marB="4571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a:ln>
                            <a:noFill/>
                          </a:ln>
                          <a:solidFill>
                            <a:srgbClr val="339933"/>
                          </a:solidFill>
                          <a:effectLst/>
                          <a:latin typeface="Tahoma" pitchFamily="34" charset="0"/>
                          <a:ea typeface="MS Pゴシック" pitchFamily="-92" charset="-128"/>
                        </a:rPr>
                        <a:t>Efficienza</a:t>
                      </a:r>
                    </a:p>
                  </a:txBody>
                  <a:tcPr marT="45713" marB="4571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a:ln>
                            <a:noFill/>
                          </a:ln>
                          <a:solidFill>
                            <a:srgbClr val="FF6600"/>
                          </a:solidFill>
                          <a:effectLst/>
                          <a:latin typeface="Tahoma" pitchFamily="34" charset="0"/>
                          <a:ea typeface="MS Pゴシック" pitchFamily="-92" charset="-128"/>
                        </a:rPr>
                        <a:t>Definizione L.G.</a:t>
                      </a:r>
                    </a:p>
                  </a:txBody>
                  <a:tcPr marT="45713" marB="4571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extLst>
                  <a:ext uri="{0D108BD9-81ED-4DB2-BD59-A6C34878D82A}">
                    <a16:rowId xmlns:a16="http://schemas.microsoft.com/office/drawing/2014/main" val="10001"/>
                  </a:ext>
                </a:extLst>
              </a:tr>
              <a:tr h="920720">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1" i="0" u="none" strike="noStrike" cap="none" normalizeH="0" baseline="0" dirty="0">
                          <a:ln>
                            <a:noFill/>
                          </a:ln>
                          <a:solidFill>
                            <a:schemeClr val="tx1"/>
                          </a:solidFill>
                          <a:effectLst/>
                          <a:latin typeface="Tahoma" pitchFamily="34" charset="0"/>
                          <a:ea typeface="MS Pゴシック" pitchFamily="-92" charset="-128"/>
                        </a:rPr>
                        <a:t>Disegno </a:t>
                      </a:r>
                      <a:r>
                        <a:rPr kumimoji="0" lang="it-IT" sz="1600" b="0" i="0" u="none" strike="noStrike" cap="none" normalizeH="0" baseline="0" dirty="0">
                          <a:ln>
                            <a:noFill/>
                          </a:ln>
                          <a:solidFill>
                            <a:schemeClr val="tx1"/>
                          </a:solidFill>
                          <a:effectLst/>
                          <a:latin typeface="Tahoma" pitchFamily="34" charset="0"/>
                          <a:ea typeface="MS Pゴシック" pitchFamily="-92" charset="-128"/>
                        </a:rPr>
                        <a:t>         </a:t>
                      </a:r>
                      <a:r>
                        <a:rPr kumimoji="0" lang="it-IT" sz="1600" b="0" i="0" u="none" strike="noStrike" cap="none" normalizeH="0" baseline="0" dirty="0" smtClean="0">
                          <a:ln>
                            <a:noFill/>
                          </a:ln>
                          <a:solidFill>
                            <a:schemeClr val="tx1"/>
                          </a:solidFill>
                          <a:effectLst/>
                          <a:latin typeface="Tahoma" pitchFamily="34" charset="0"/>
                          <a:ea typeface="MS Pゴシック" pitchFamily="-92" charset="-128"/>
                        </a:rPr>
                        <a:t>  </a:t>
                      </a:r>
                      <a:endParaRPr kumimoji="0" lang="it-IT" sz="1600" b="0" i="0" u="none" strike="noStrike" cap="none" normalizeH="0" baseline="0" dirty="0">
                        <a:ln>
                          <a:noFill/>
                        </a:ln>
                        <a:solidFill>
                          <a:schemeClr val="tx1"/>
                        </a:solidFill>
                        <a:effectLst/>
                        <a:latin typeface="Tahoma" pitchFamily="34" charset="0"/>
                        <a:ea typeface="MS Pゴシック" pitchFamily="-92" charset="-128"/>
                      </a:endParaRPr>
                    </a:p>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1" i="0" u="none" strike="noStrike" cap="none" normalizeH="0" baseline="0" dirty="0">
                          <a:ln>
                            <a:noFill/>
                          </a:ln>
                          <a:solidFill>
                            <a:schemeClr val="tx1"/>
                          </a:solidFill>
                          <a:effectLst/>
                          <a:latin typeface="Tahoma" pitchFamily="34" charset="0"/>
                          <a:ea typeface="MS Pゴシック" pitchFamily="-92" charset="-128"/>
                        </a:rPr>
                        <a:t>studio </a:t>
                      </a:r>
                      <a:r>
                        <a:rPr kumimoji="0" lang="it-IT" sz="1600" b="0" i="0" u="none" strike="noStrike" cap="none" normalizeH="0" baseline="0" dirty="0">
                          <a:ln>
                            <a:noFill/>
                          </a:ln>
                          <a:solidFill>
                            <a:schemeClr val="tx1"/>
                          </a:solidFill>
                          <a:effectLst/>
                          <a:latin typeface="Tahoma" pitchFamily="34" charset="0"/>
                          <a:ea typeface="MS Pゴシック" pitchFamily="-92" charset="-128"/>
                        </a:rPr>
                        <a:t>                </a:t>
                      </a:r>
                      <a:r>
                        <a:rPr kumimoji="0" lang="it-IT" sz="1600" b="0" i="0" u="none" strike="noStrike" cap="none" normalizeH="0" baseline="0" dirty="0" smtClean="0">
                          <a:ln>
                            <a:noFill/>
                          </a:ln>
                          <a:solidFill>
                            <a:srgbClr val="FF0066"/>
                          </a:solidFill>
                          <a:effectLst/>
                          <a:latin typeface="Tahoma" pitchFamily="34" charset="0"/>
                          <a:ea typeface="MS Pゴシック" pitchFamily="-92" charset="-128"/>
                        </a:rPr>
                        <a:t> </a:t>
                      </a:r>
                      <a:endParaRPr kumimoji="0" lang="it-IT" sz="1600" b="0" i="0" u="none" strike="noStrike" cap="none" normalizeH="0" baseline="0" dirty="0">
                        <a:ln>
                          <a:noFill/>
                        </a:ln>
                        <a:solidFill>
                          <a:srgbClr val="FF0066"/>
                        </a:solidFill>
                        <a:effectLst/>
                        <a:latin typeface="Tahoma" pitchFamily="34" charset="0"/>
                        <a:ea typeface="MS Pゴシック" pitchFamily="-92" charset="-128"/>
                      </a:endParaRPr>
                    </a:p>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endParaRPr kumimoji="0" lang="it-IT" sz="1600" b="0" i="0" u="none" strike="noStrike" cap="none" normalizeH="0" baseline="0" dirty="0">
                        <a:ln>
                          <a:noFill/>
                        </a:ln>
                        <a:solidFill>
                          <a:srgbClr val="FF0066"/>
                        </a:solidFill>
                        <a:effectLst/>
                        <a:latin typeface="Tahoma" pitchFamily="34" charset="0"/>
                        <a:ea typeface="MS Pゴシック" pitchFamily="-92" charset="-128"/>
                      </a:endParaRPr>
                    </a:p>
                  </a:txBody>
                  <a:tcPr marT="45713" marB="4571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dirty="0">
                          <a:ln>
                            <a:noFill/>
                          </a:ln>
                          <a:solidFill>
                            <a:schemeClr val="accent2"/>
                          </a:solidFill>
                          <a:effectLst/>
                          <a:latin typeface="Tahoma" pitchFamily="34" charset="0"/>
                          <a:ea typeface="MS Pゴシック" pitchFamily="-92" charset="-128"/>
                        </a:rPr>
                        <a:t>RCT</a:t>
                      </a:r>
                    </a:p>
                  </a:txBody>
                  <a:tcPr marT="45713" marB="4571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dirty="0">
                          <a:ln>
                            <a:noFill/>
                          </a:ln>
                          <a:solidFill>
                            <a:schemeClr val="accent4">
                              <a:lumMod val="75000"/>
                            </a:schemeClr>
                          </a:solidFill>
                          <a:effectLst/>
                          <a:latin typeface="Tahoma" pitchFamily="34" charset="0"/>
                          <a:ea typeface="MS Pゴシック" pitchFamily="-92" charset="-128"/>
                        </a:rPr>
                        <a:t>Studi osservazionali</a:t>
                      </a:r>
                    </a:p>
                  </a:txBody>
                  <a:tcPr marT="45713" marB="4571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a:ln>
                            <a:noFill/>
                          </a:ln>
                          <a:solidFill>
                            <a:srgbClr val="339933"/>
                          </a:solidFill>
                          <a:effectLst/>
                          <a:latin typeface="Tahoma" pitchFamily="34" charset="0"/>
                          <a:ea typeface="MS Pゴシック" pitchFamily="-92" charset="-128"/>
                        </a:rPr>
                        <a:t>Analisi economica</a:t>
                      </a:r>
                    </a:p>
                  </a:txBody>
                  <a:tcPr marT="45713" marB="4571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a:ln>
                            <a:noFill/>
                          </a:ln>
                          <a:solidFill>
                            <a:srgbClr val="FF6600"/>
                          </a:solidFill>
                          <a:effectLst/>
                          <a:latin typeface="Tahoma" pitchFamily="34" charset="0"/>
                          <a:ea typeface="MS Pゴシック" pitchFamily="-92" charset="-128"/>
                        </a:rPr>
                        <a:t>Revisione sistematiche</a:t>
                      </a:r>
                    </a:p>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a:ln>
                            <a:noFill/>
                          </a:ln>
                          <a:solidFill>
                            <a:srgbClr val="FF6600"/>
                          </a:solidFill>
                          <a:effectLst/>
                          <a:latin typeface="Tahoma" pitchFamily="34" charset="0"/>
                          <a:ea typeface="MS Pゴシック" pitchFamily="-92" charset="-128"/>
                        </a:rPr>
                        <a:t>Meta analisi</a:t>
                      </a:r>
                    </a:p>
                  </a:txBody>
                  <a:tcPr marT="45713" marB="4571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extLst>
                  <a:ext uri="{0D108BD9-81ED-4DB2-BD59-A6C34878D82A}">
                    <a16:rowId xmlns:a16="http://schemas.microsoft.com/office/drawing/2014/main" val="10002"/>
                  </a:ext>
                </a:extLst>
              </a:tr>
              <a:tr h="920720">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dirty="0">
                          <a:ln>
                            <a:noFill/>
                          </a:ln>
                          <a:solidFill>
                            <a:schemeClr val="tx1"/>
                          </a:solidFill>
                          <a:effectLst/>
                          <a:latin typeface="Tahoma" pitchFamily="34" charset="0"/>
                          <a:ea typeface="MS Pゴシック" pitchFamily="-92" charset="-128"/>
                        </a:rPr>
                        <a:t> </a:t>
                      </a:r>
                      <a:r>
                        <a:rPr kumimoji="0" lang="it-IT" sz="1600" b="1" i="0" u="none" strike="noStrike" cap="none" normalizeH="0" baseline="0" dirty="0">
                          <a:ln>
                            <a:noFill/>
                          </a:ln>
                          <a:solidFill>
                            <a:schemeClr val="tx1"/>
                          </a:solidFill>
                          <a:effectLst/>
                          <a:latin typeface="Tahoma" pitchFamily="34" charset="0"/>
                          <a:ea typeface="MS Pゴシック" pitchFamily="-92" charset="-128"/>
                        </a:rPr>
                        <a:t>Misure   </a:t>
                      </a:r>
                      <a:r>
                        <a:rPr kumimoji="0" lang="it-IT" sz="1600" b="0" i="0" u="none" strike="noStrike" cap="none" normalizeH="0" baseline="0" dirty="0">
                          <a:ln>
                            <a:noFill/>
                          </a:ln>
                          <a:solidFill>
                            <a:schemeClr val="tx1"/>
                          </a:solidFill>
                          <a:effectLst/>
                          <a:latin typeface="Tahoma" pitchFamily="34" charset="0"/>
                          <a:ea typeface="MS Pゴシック" pitchFamily="-92" charset="-128"/>
                        </a:rPr>
                        <a:t>         </a:t>
                      </a:r>
                      <a:endParaRPr kumimoji="0" lang="it-IT" sz="1600" b="0" i="0" u="none" strike="noStrike" cap="none" normalizeH="0" baseline="0" dirty="0">
                        <a:ln>
                          <a:noFill/>
                        </a:ln>
                        <a:solidFill>
                          <a:srgbClr val="FF0066"/>
                        </a:solidFill>
                        <a:effectLst/>
                        <a:latin typeface="Tahoma" pitchFamily="34" charset="0"/>
                        <a:ea typeface="MS Pゴシック" pitchFamily="-92" charset="-128"/>
                      </a:endParaRPr>
                    </a:p>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dirty="0">
                          <a:ln>
                            <a:noFill/>
                          </a:ln>
                          <a:solidFill>
                            <a:schemeClr val="tx1"/>
                          </a:solidFill>
                          <a:effectLst/>
                          <a:latin typeface="Tahoma" pitchFamily="34" charset="0"/>
                          <a:ea typeface="MS Pゴシック" pitchFamily="-92" charset="-128"/>
                        </a:rPr>
                        <a:t> </a:t>
                      </a:r>
                      <a:r>
                        <a:rPr kumimoji="0" lang="it-IT" sz="1600" b="1" i="0" u="none" strike="noStrike" cap="none" normalizeH="0" baseline="0" dirty="0">
                          <a:ln>
                            <a:noFill/>
                          </a:ln>
                          <a:solidFill>
                            <a:schemeClr val="tx1"/>
                          </a:solidFill>
                          <a:effectLst/>
                          <a:latin typeface="Tahoma" pitchFamily="34" charset="0"/>
                          <a:ea typeface="MS Pゴシック" pitchFamily="-92" charset="-128"/>
                        </a:rPr>
                        <a:t>principali</a:t>
                      </a:r>
                      <a:r>
                        <a:rPr kumimoji="0" lang="it-IT" sz="1600" b="0" i="0" u="none" strike="noStrike" cap="none" normalizeH="0" baseline="0" dirty="0">
                          <a:ln>
                            <a:noFill/>
                          </a:ln>
                          <a:solidFill>
                            <a:schemeClr val="tx1"/>
                          </a:solidFill>
                          <a:effectLst/>
                          <a:latin typeface="Tahoma" pitchFamily="34" charset="0"/>
                          <a:ea typeface="MS Pゴシック" pitchFamily="-92" charset="-128"/>
                        </a:rPr>
                        <a:t>             </a:t>
                      </a:r>
                      <a:endParaRPr kumimoji="0" lang="it-IT" sz="1600" b="0" i="0" u="none" strike="noStrike" cap="none" normalizeH="0" baseline="0" dirty="0">
                        <a:ln>
                          <a:noFill/>
                        </a:ln>
                        <a:solidFill>
                          <a:srgbClr val="FF0066"/>
                        </a:solidFill>
                        <a:effectLst/>
                        <a:latin typeface="Tahoma" pitchFamily="34" charset="0"/>
                        <a:ea typeface="MS Pゴシック" pitchFamily="-92" charset="-128"/>
                      </a:endParaRPr>
                    </a:p>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dirty="0">
                          <a:ln>
                            <a:noFill/>
                          </a:ln>
                          <a:solidFill>
                            <a:srgbClr val="FF0066"/>
                          </a:solidFill>
                          <a:effectLst/>
                          <a:latin typeface="Tahoma" pitchFamily="34" charset="0"/>
                          <a:ea typeface="MS Pゴシック" pitchFamily="-92" charset="-128"/>
                        </a:rPr>
                        <a:t>                           </a:t>
                      </a:r>
                    </a:p>
                  </a:txBody>
                  <a:tcPr marT="45713" marB="4571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dirty="0">
                          <a:ln>
                            <a:noFill/>
                          </a:ln>
                          <a:solidFill>
                            <a:schemeClr val="accent2"/>
                          </a:solidFill>
                          <a:effectLst/>
                          <a:latin typeface="Tahoma" pitchFamily="34" charset="0"/>
                          <a:ea typeface="MS Pゴシック" pitchFamily="-92" charset="-128"/>
                        </a:rPr>
                        <a:t> Efficacia sicurezza</a:t>
                      </a:r>
                    </a:p>
                  </a:txBody>
                  <a:tcPr marT="45713" marB="4571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dirty="0">
                          <a:ln>
                            <a:noFill/>
                          </a:ln>
                          <a:solidFill>
                            <a:schemeClr val="accent4">
                              <a:lumMod val="75000"/>
                            </a:schemeClr>
                          </a:solidFill>
                          <a:effectLst/>
                          <a:latin typeface="Tahoma" pitchFamily="34" charset="0"/>
                          <a:ea typeface="MS Pゴシック" pitchFamily="-92" charset="-128"/>
                        </a:rPr>
                        <a:t>Esiti correlati ai pazienti</a:t>
                      </a:r>
                    </a:p>
                  </a:txBody>
                  <a:tcPr marT="45713" marB="4571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a:ln>
                            <a:noFill/>
                          </a:ln>
                          <a:solidFill>
                            <a:srgbClr val="339933"/>
                          </a:solidFill>
                          <a:effectLst/>
                          <a:latin typeface="Tahoma" pitchFamily="34" charset="0"/>
                          <a:ea typeface="MS Pゴシック" pitchFamily="-92" charset="-128"/>
                        </a:rPr>
                        <a:t>Costi outcome</a:t>
                      </a:r>
                    </a:p>
                  </a:txBody>
                  <a:tcPr marT="45713" marB="4571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a:ln>
                            <a:noFill/>
                          </a:ln>
                          <a:solidFill>
                            <a:srgbClr val="FF6600"/>
                          </a:solidFill>
                          <a:effectLst/>
                          <a:latin typeface="Tahoma" pitchFamily="34" charset="0"/>
                          <a:ea typeface="MS Pゴシック" pitchFamily="-92" charset="-128"/>
                        </a:rPr>
                        <a:t>Livelli di evidenza</a:t>
                      </a:r>
                    </a:p>
                  </a:txBody>
                  <a:tcPr marT="45713" marB="4571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extLst>
                  <a:ext uri="{0D108BD9-81ED-4DB2-BD59-A6C34878D82A}">
                    <a16:rowId xmlns:a16="http://schemas.microsoft.com/office/drawing/2014/main" val="10003"/>
                  </a:ext>
                </a:extLst>
              </a:tr>
              <a:tr h="836586">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1" i="0" u="none" strike="noStrike" cap="none" normalizeH="0" baseline="0" dirty="0" smtClean="0">
                          <a:ln>
                            <a:noFill/>
                          </a:ln>
                          <a:solidFill>
                            <a:schemeClr val="tx1"/>
                          </a:solidFill>
                          <a:effectLst/>
                          <a:latin typeface="Tahoma" pitchFamily="34" charset="0"/>
                          <a:ea typeface="MS Pゴシック" pitchFamily="-92" charset="-128"/>
                        </a:rPr>
                        <a:t>Intervallo</a:t>
                      </a:r>
                      <a:r>
                        <a:rPr kumimoji="0" lang="it-IT" sz="1600" b="0" i="0" u="none" strike="noStrike" cap="none" normalizeH="0" baseline="0" dirty="0">
                          <a:ln>
                            <a:noFill/>
                          </a:ln>
                          <a:solidFill>
                            <a:schemeClr val="tx1"/>
                          </a:solidFill>
                          <a:effectLst/>
                          <a:latin typeface="Tahoma" pitchFamily="34" charset="0"/>
                          <a:ea typeface="MS Pゴシック" pitchFamily="-92" charset="-128"/>
                        </a:rPr>
                        <a:t>/</a:t>
                      </a:r>
                      <a:r>
                        <a:rPr kumimoji="0" lang="it-IT" sz="1600" b="1" i="0" u="none" strike="noStrike" cap="none" normalizeH="0" baseline="0" dirty="0" smtClean="0">
                          <a:ln>
                            <a:noFill/>
                          </a:ln>
                          <a:solidFill>
                            <a:schemeClr val="tx1"/>
                          </a:solidFill>
                          <a:effectLst/>
                          <a:latin typeface="Tahoma" pitchFamily="34" charset="0"/>
                          <a:ea typeface="MS Pゴシック" pitchFamily="-92" charset="-128"/>
                        </a:rPr>
                        <a:t>tempo</a:t>
                      </a:r>
                      <a:endParaRPr kumimoji="0" lang="it-IT" sz="1600" b="1" i="0" u="none" strike="noStrike" cap="none" normalizeH="0" baseline="0" dirty="0">
                        <a:ln>
                          <a:noFill/>
                        </a:ln>
                        <a:solidFill>
                          <a:schemeClr val="tx1"/>
                        </a:solidFill>
                        <a:effectLst/>
                        <a:latin typeface="Tahoma" pitchFamily="34" charset="0"/>
                        <a:ea typeface="MS Pゴシック" pitchFamily="-92" charset="-128"/>
                      </a:endParaRPr>
                    </a:p>
                  </a:txBody>
                  <a:tcPr marT="45713" marB="4571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a:ln>
                            <a:noFill/>
                          </a:ln>
                          <a:solidFill>
                            <a:schemeClr val="accent2"/>
                          </a:solidFill>
                          <a:effectLst/>
                          <a:latin typeface="Tahoma" pitchFamily="34" charset="0"/>
                          <a:ea typeface="MS Pゴシック" pitchFamily="-92" charset="-128"/>
                        </a:rPr>
                        <a:t>A breve termine</a:t>
                      </a:r>
                    </a:p>
                  </a:txBody>
                  <a:tcPr marT="45713" marB="4571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2800" b="0" i="0" u="none" strike="noStrike" cap="none" normalizeH="0" baseline="0" dirty="0">
                          <a:ln>
                            <a:noFill/>
                          </a:ln>
                          <a:solidFill>
                            <a:schemeClr val="accent4">
                              <a:lumMod val="75000"/>
                            </a:schemeClr>
                          </a:solidFill>
                          <a:effectLst/>
                          <a:latin typeface="Tahoma" pitchFamily="34" charset="0"/>
                          <a:ea typeface="MS Pゴシック" pitchFamily="-92" charset="-128"/>
                        </a:rPr>
                        <a:t> </a:t>
                      </a:r>
                      <a:r>
                        <a:rPr kumimoji="0" lang="it-IT" sz="1600" b="0" i="0" u="none" strike="noStrike" cap="none" normalizeH="0" baseline="0" dirty="0">
                          <a:ln>
                            <a:noFill/>
                          </a:ln>
                          <a:solidFill>
                            <a:schemeClr val="accent4">
                              <a:lumMod val="75000"/>
                            </a:schemeClr>
                          </a:solidFill>
                          <a:effectLst/>
                          <a:latin typeface="Tahoma" pitchFamily="34" charset="0"/>
                          <a:ea typeface="MS Pゴシック" pitchFamily="-92" charset="-128"/>
                        </a:rPr>
                        <a:t>A lungo termine</a:t>
                      </a:r>
                    </a:p>
                  </a:txBody>
                  <a:tcPr marT="45713" marB="4571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a:ln>
                            <a:noFill/>
                          </a:ln>
                          <a:solidFill>
                            <a:srgbClr val="339933"/>
                          </a:solidFill>
                          <a:effectLst/>
                          <a:latin typeface="Tahoma" pitchFamily="34" charset="0"/>
                          <a:ea typeface="MS Pゴシック" pitchFamily="-92" charset="-128"/>
                        </a:rPr>
                        <a:t>A lungo termine</a:t>
                      </a:r>
                      <a:r>
                        <a:rPr kumimoji="0" lang="it-IT" sz="2800" b="0" i="0" u="none" strike="noStrike" cap="none" normalizeH="0" baseline="0">
                          <a:ln>
                            <a:noFill/>
                          </a:ln>
                          <a:solidFill>
                            <a:srgbClr val="339933"/>
                          </a:solidFill>
                          <a:effectLst/>
                          <a:latin typeface="Tahoma" pitchFamily="34" charset="0"/>
                          <a:ea typeface="MS Pゴシック" pitchFamily="-92" charset="-128"/>
                        </a:rPr>
                        <a:t> </a:t>
                      </a:r>
                    </a:p>
                  </a:txBody>
                  <a:tcPr marT="45713" marB="4571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a:ln>
                            <a:noFill/>
                          </a:ln>
                          <a:solidFill>
                            <a:srgbClr val="FF6600"/>
                          </a:solidFill>
                          <a:effectLst/>
                          <a:latin typeface="Tahoma" pitchFamily="34" charset="0"/>
                          <a:ea typeface="MS Pゴシック" pitchFamily="-92" charset="-128"/>
                        </a:rPr>
                        <a:t>Immediato o a breve termine</a:t>
                      </a:r>
                    </a:p>
                  </a:txBody>
                  <a:tcPr marT="45713" marB="4571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extLst>
                  <a:ext uri="{0D108BD9-81ED-4DB2-BD59-A6C34878D82A}">
                    <a16:rowId xmlns:a16="http://schemas.microsoft.com/office/drawing/2014/main" val="10004"/>
                  </a:ext>
                </a:extLst>
              </a:tr>
              <a:tr h="871714">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1" i="0" u="none" strike="noStrike" cap="none" normalizeH="0" baseline="0" dirty="0">
                          <a:ln>
                            <a:noFill/>
                          </a:ln>
                          <a:solidFill>
                            <a:schemeClr val="tx1"/>
                          </a:solidFill>
                          <a:effectLst/>
                          <a:latin typeface="Tahoma" pitchFamily="34" charset="0"/>
                          <a:ea typeface="MS Pゴシック" pitchFamily="-92" charset="-128"/>
                        </a:rPr>
                        <a:t>Campo</a:t>
                      </a:r>
                      <a:r>
                        <a:rPr kumimoji="0" lang="it-IT" sz="1600" b="0" i="0" u="none" strike="noStrike" cap="none" normalizeH="0" baseline="0" dirty="0">
                          <a:ln>
                            <a:noFill/>
                          </a:ln>
                          <a:solidFill>
                            <a:schemeClr val="tx1"/>
                          </a:solidFill>
                          <a:effectLst/>
                          <a:latin typeface="Tahoma" pitchFamily="34" charset="0"/>
                          <a:ea typeface="MS Pゴシック" pitchFamily="-92" charset="-128"/>
                        </a:rPr>
                        <a:t>          </a:t>
                      </a:r>
                      <a:r>
                        <a:rPr kumimoji="0" lang="it-IT" sz="1600" b="0" i="0" u="none" strike="noStrike" cap="none" normalizeH="0" baseline="0" dirty="0">
                          <a:ln>
                            <a:noFill/>
                          </a:ln>
                          <a:solidFill>
                            <a:srgbClr val="FF0066"/>
                          </a:solidFill>
                          <a:effectLst/>
                          <a:latin typeface="Tahoma" pitchFamily="34" charset="0"/>
                          <a:ea typeface="MS Pゴシック" pitchFamily="-92" charset="-128"/>
                        </a:rPr>
                        <a:t>  </a:t>
                      </a:r>
                      <a:r>
                        <a:rPr kumimoji="0" lang="it-IT" sz="1600" b="0" i="0" u="none" strike="noStrike" cap="none" normalizeH="0" baseline="0" dirty="0" smtClean="0">
                          <a:ln>
                            <a:noFill/>
                          </a:ln>
                          <a:solidFill>
                            <a:srgbClr val="FF0066"/>
                          </a:solidFill>
                          <a:effectLst/>
                          <a:latin typeface="Tahoma" pitchFamily="34" charset="0"/>
                          <a:ea typeface="MS Pゴシック" pitchFamily="-92" charset="-128"/>
                        </a:rPr>
                        <a:t> </a:t>
                      </a:r>
                      <a:r>
                        <a:rPr kumimoji="0" lang="it-IT" sz="1600" b="0" i="0" u="none" strike="noStrike" cap="none" normalizeH="0" baseline="0" dirty="0" smtClean="0">
                          <a:ln>
                            <a:noFill/>
                          </a:ln>
                          <a:solidFill>
                            <a:schemeClr val="tx1"/>
                          </a:solidFill>
                          <a:effectLst/>
                          <a:latin typeface="Tahoma" pitchFamily="34" charset="0"/>
                          <a:ea typeface="MS Pゴシック" pitchFamily="-92" charset="-128"/>
                        </a:rPr>
                        <a:t>          </a:t>
                      </a:r>
                      <a:r>
                        <a:rPr kumimoji="0" lang="it-IT" sz="1600" b="1" i="0" u="none" strike="noStrike" cap="none" normalizeH="0" baseline="0" dirty="0">
                          <a:ln>
                            <a:noFill/>
                          </a:ln>
                          <a:solidFill>
                            <a:schemeClr val="tx1"/>
                          </a:solidFill>
                          <a:effectLst/>
                          <a:latin typeface="Tahoma" pitchFamily="34" charset="0"/>
                          <a:ea typeface="MS Pゴシック" pitchFamily="-92" charset="-128"/>
                        </a:rPr>
                        <a:t>Applicazione </a:t>
                      </a:r>
                      <a:r>
                        <a:rPr kumimoji="0" lang="it-IT" sz="1600" b="0" i="0" u="none" strike="noStrike" cap="none" normalizeH="0" baseline="0" dirty="0">
                          <a:ln>
                            <a:noFill/>
                          </a:ln>
                          <a:solidFill>
                            <a:schemeClr val="tx1"/>
                          </a:solidFill>
                          <a:effectLst/>
                          <a:latin typeface="Tahoma" pitchFamily="34" charset="0"/>
                          <a:ea typeface="MS Pゴシック" pitchFamily="-92" charset="-128"/>
                        </a:rPr>
                        <a:t> </a:t>
                      </a:r>
                      <a:endParaRPr kumimoji="0" lang="it-IT" sz="1600" b="0" i="0" u="none" strike="noStrike" cap="none" normalizeH="0" baseline="0" dirty="0">
                        <a:ln>
                          <a:noFill/>
                        </a:ln>
                        <a:solidFill>
                          <a:srgbClr val="FF0066"/>
                        </a:solidFill>
                        <a:effectLst/>
                        <a:latin typeface="Tahoma" pitchFamily="34" charset="0"/>
                        <a:ea typeface="MS Pゴシック" pitchFamily="-92" charset="-128"/>
                      </a:endParaRPr>
                    </a:p>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dirty="0">
                          <a:ln>
                            <a:noFill/>
                          </a:ln>
                          <a:solidFill>
                            <a:srgbClr val="FF0066"/>
                          </a:solidFill>
                          <a:effectLst/>
                          <a:latin typeface="Tahoma" pitchFamily="34" charset="0"/>
                          <a:ea typeface="MS Pゴシック" pitchFamily="-92" charset="-128"/>
                        </a:rPr>
                        <a:t>                           </a:t>
                      </a:r>
                    </a:p>
                  </a:txBody>
                  <a:tcPr marT="45713" marB="4571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a:ln>
                            <a:noFill/>
                          </a:ln>
                          <a:solidFill>
                            <a:schemeClr val="accent2"/>
                          </a:solidFill>
                          <a:effectLst/>
                          <a:latin typeface="Tahoma" pitchFamily="34" charset="0"/>
                          <a:ea typeface="MS Pゴシック" pitchFamily="-92" charset="-128"/>
                        </a:rPr>
                        <a:t>Pratica clinica ideale</a:t>
                      </a:r>
                    </a:p>
                  </a:txBody>
                  <a:tcPr marT="45713" marB="4571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dirty="0">
                          <a:ln>
                            <a:noFill/>
                          </a:ln>
                          <a:solidFill>
                            <a:schemeClr val="accent4">
                              <a:lumMod val="75000"/>
                            </a:schemeClr>
                          </a:solidFill>
                          <a:effectLst/>
                          <a:latin typeface="Tahoma" pitchFamily="34" charset="0"/>
                          <a:ea typeface="MS Pゴシック" pitchFamily="-92" charset="-128"/>
                        </a:rPr>
                        <a:t>Pratica clinica </a:t>
                      </a:r>
                    </a:p>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dirty="0">
                          <a:ln>
                            <a:noFill/>
                          </a:ln>
                          <a:solidFill>
                            <a:schemeClr val="accent4">
                              <a:lumMod val="75000"/>
                            </a:schemeClr>
                          </a:solidFill>
                          <a:effectLst/>
                          <a:latin typeface="Tahoma" pitchFamily="34" charset="0"/>
                          <a:ea typeface="MS Pゴシック" pitchFamily="-92" charset="-128"/>
                        </a:rPr>
                        <a:t>routinaria </a:t>
                      </a:r>
                    </a:p>
                  </a:txBody>
                  <a:tcPr marT="45713" marB="4571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a:ln>
                            <a:noFill/>
                          </a:ln>
                          <a:solidFill>
                            <a:srgbClr val="339933"/>
                          </a:solidFill>
                          <a:effectLst/>
                          <a:latin typeface="Tahoma" pitchFamily="34" charset="0"/>
                          <a:ea typeface="MS Pゴシック" pitchFamily="-92" charset="-128"/>
                        </a:rPr>
                        <a:t>Pratica clinica </a:t>
                      </a:r>
                    </a:p>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a:ln>
                            <a:noFill/>
                          </a:ln>
                          <a:solidFill>
                            <a:srgbClr val="339933"/>
                          </a:solidFill>
                          <a:effectLst/>
                          <a:latin typeface="Tahoma" pitchFamily="34" charset="0"/>
                          <a:ea typeface="MS Pゴシック" pitchFamily="-92" charset="-128"/>
                        </a:rPr>
                        <a:t>routinaria</a:t>
                      </a:r>
                    </a:p>
                  </a:txBody>
                  <a:tcPr marT="45713" marB="4571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a:ln>
                            <a:noFill/>
                          </a:ln>
                          <a:solidFill>
                            <a:srgbClr val="FF6600"/>
                          </a:solidFill>
                          <a:effectLst/>
                          <a:latin typeface="Tahoma" pitchFamily="34" charset="0"/>
                          <a:ea typeface="MS Pゴシック" pitchFamily="-92" charset="-128"/>
                        </a:rPr>
                        <a:t>Pratica clinica </a:t>
                      </a:r>
                    </a:p>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a:ln>
                            <a:noFill/>
                          </a:ln>
                          <a:solidFill>
                            <a:srgbClr val="FF6600"/>
                          </a:solidFill>
                          <a:effectLst/>
                          <a:latin typeface="Tahoma" pitchFamily="34" charset="0"/>
                          <a:ea typeface="MS Pゴシック" pitchFamily="-92" charset="-128"/>
                        </a:rPr>
                        <a:t>routinaria</a:t>
                      </a:r>
                    </a:p>
                  </a:txBody>
                  <a:tcPr marT="45713" marB="4571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extLst>
                  <a:ext uri="{0D108BD9-81ED-4DB2-BD59-A6C34878D82A}">
                    <a16:rowId xmlns:a16="http://schemas.microsoft.com/office/drawing/2014/main" val="10005"/>
                  </a:ext>
                </a:extLst>
              </a:tr>
              <a:tr h="920720">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1" i="0" u="none" strike="noStrike" cap="none" normalizeH="0" baseline="0" dirty="0">
                          <a:ln>
                            <a:noFill/>
                          </a:ln>
                          <a:solidFill>
                            <a:schemeClr val="tx1"/>
                          </a:solidFill>
                          <a:effectLst/>
                          <a:latin typeface="Tahoma" pitchFamily="34" charset="0"/>
                          <a:ea typeface="MS Pゴシック" pitchFamily="-92" charset="-128"/>
                        </a:rPr>
                        <a:t>Significato</a:t>
                      </a:r>
                      <a:r>
                        <a:rPr kumimoji="0" lang="it-IT" sz="1600" b="0" i="0" u="none" strike="noStrike" cap="none" normalizeH="0" baseline="0" dirty="0">
                          <a:ln>
                            <a:noFill/>
                          </a:ln>
                          <a:solidFill>
                            <a:schemeClr val="tx1"/>
                          </a:solidFill>
                          <a:effectLst/>
                          <a:latin typeface="Tahoma" pitchFamily="34" charset="0"/>
                          <a:ea typeface="MS Pゴシック" pitchFamily="-92" charset="-128"/>
                        </a:rPr>
                        <a:t>      </a:t>
                      </a:r>
                      <a:r>
                        <a:rPr kumimoji="0" lang="it-IT" sz="1600" b="0" i="0" u="none" strike="noStrike" cap="none" normalizeH="0" baseline="0" dirty="0" smtClean="0">
                          <a:ln>
                            <a:noFill/>
                          </a:ln>
                          <a:solidFill>
                            <a:schemeClr val="tx1"/>
                          </a:solidFill>
                          <a:effectLst/>
                          <a:latin typeface="Tahoma" pitchFamily="34" charset="0"/>
                          <a:ea typeface="MS Pゴシック" pitchFamily="-92" charset="-128"/>
                        </a:rPr>
                        <a:t>                  </a:t>
                      </a:r>
                      <a:r>
                        <a:rPr kumimoji="0" lang="it-IT" sz="1600" b="1" i="0" u="none" strike="noStrike" cap="none" normalizeH="0" baseline="0" dirty="0">
                          <a:ln>
                            <a:noFill/>
                          </a:ln>
                          <a:solidFill>
                            <a:schemeClr val="tx1"/>
                          </a:solidFill>
                          <a:effectLst/>
                          <a:latin typeface="Tahoma" pitchFamily="34" charset="0"/>
                          <a:ea typeface="MS Pゴシック" pitchFamily="-92" charset="-128"/>
                        </a:rPr>
                        <a:t>Risultati  </a:t>
                      </a:r>
                      <a:r>
                        <a:rPr kumimoji="0" lang="it-IT" sz="1600" b="0" i="0" u="none" strike="noStrike" cap="none" normalizeH="0" baseline="0" dirty="0">
                          <a:ln>
                            <a:noFill/>
                          </a:ln>
                          <a:solidFill>
                            <a:schemeClr val="tx1"/>
                          </a:solidFill>
                          <a:effectLst/>
                          <a:latin typeface="Tahoma" pitchFamily="34" charset="0"/>
                          <a:ea typeface="MS Pゴシック" pitchFamily="-92" charset="-128"/>
                        </a:rPr>
                        <a:t>         </a:t>
                      </a:r>
                      <a:r>
                        <a:rPr kumimoji="0" lang="it-IT" sz="1600" b="0" i="0" u="none" strike="noStrike" cap="none" normalizeH="0" baseline="0" dirty="0">
                          <a:ln>
                            <a:noFill/>
                          </a:ln>
                          <a:solidFill>
                            <a:srgbClr val="FF0066"/>
                          </a:solidFill>
                          <a:effectLst/>
                          <a:latin typeface="Tahoma" pitchFamily="34" charset="0"/>
                          <a:ea typeface="MS Pゴシック" pitchFamily="-92" charset="-128"/>
                        </a:rPr>
                        <a:t> </a:t>
                      </a:r>
                    </a:p>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dirty="0">
                          <a:ln>
                            <a:noFill/>
                          </a:ln>
                          <a:solidFill>
                            <a:srgbClr val="FF0066"/>
                          </a:solidFill>
                          <a:effectLst/>
                          <a:latin typeface="Tahoma" pitchFamily="34" charset="0"/>
                          <a:ea typeface="MS Pゴシック" pitchFamily="-92" charset="-128"/>
                        </a:rPr>
                        <a:t>                       </a:t>
                      </a:r>
                    </a:p>
                  </a:txBody>
                  <a:tcPr marT="45713" marB="4571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dirty="0">
                          <a:ln>
                            <a:noFill/>
                          </a:ln>
                          <a:solidFill>
                            <a:schemeClr val="accent2"/>
                          </a:solidFill>
                          <a:effectLst/>
                          <a:latin typeface="Tahoma" pitchFamily="34" charset="0"/>
                          <a:ea typeface="MS Pゴシック" pitchFamily="-92" charset="-128"/>
                        </a:rPr>
                        <a:t>Ciò che</a:t>
                      </a:r>
                    </a:p>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dirty="0">
                          <a:ln>
                            <a:noFill/>
                          </a:ln>
                          <a:solidFill>
                            <a:schemeClr val="accent2"/>
                          </a:solidFill>
                          <a:effectLst/>
                          <a:latin typeface="Tahoma" pitchFamily="34" charset="0"/>
                          <a:ea typeface="MS Pゴシック" pitchFamily="-92" charset="-128"/>
                        </a:rPr>
                        <a:t>potrebbe</a:t>
                      </a:r>
                    </a:p>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dirty="0">
                          <a:ln>
                            <a:noFill/>
                          </a:ln>
                          <a:solidFill>
                            <a:schemeClr val="accent2"/>
                          </a:solidFill>
                          <a:effectLst/>
                          <a:latin typeface="Tahoma" pitchFamily="34" charset="0"/>
                          <a:ea typeface="MS Pゴシック" pitchFamily="-92" charset="-128"/>
                        </a:rPr>
                        <a:t>succedere</a:t>
                      </a:r>
                    </a:p>
                  </a:txBody>
                  <a:tcPr marT="45713" marB="4571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dirty="0">
                          <a:ln>
                            <a:noFill/>
                          </a:ln>
                          <a:solidFill>
                            <a:schemeClr val="accent4">
                              <a:lumMod val="75000"/>
                            </a:schemeClr>
                          </a:solidFill>
                          <a:effectLst/>
                          <a:latin typeface="Tahoma" pitchFamily="34" charset="0"/>
                          <a:ea typeface="MS Pゴシック" pitchFamily="-92" charset="-128"/>
                        </a:rPr>
                        <a:t>Ciò che</a:t>
                      </a:r>
                    </a:p>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dirty="0">
                          <a:ln>
                            <a:noFill/>
                          </a:ln>
                          <a:solidFill>
                            <a:schemeClr val="accent4">
                              <a:lumMod val="75000"/>
                            </a:schemeClr>
                          </a:solidFill>
                          <a:effectLst/>
                          <a:latin typeface="Tahoma" pitchFamily="34" charset="0"/>
                          <a:ea typeface="MS Pゴシック" pitchFamily="-92" charset="-128"/>
                        </a:rPr>
                        <a:t>succede</a:t>
                      </a:r>
                    </a:p>
                  </a:txBody>
                  <a:tcPr marT="45713" marB="4571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a:ln>
                            <a:noFill/>
                          </a:ln>
                          <a:solidFill>
                            <a:srgbClr val="339933"/>
                          </a:solidFill>
                          <a:effectLst/>
                          <a:latin typeface="Tahoma" pitchFamily="34" charset="0"/>
                          <a:ea typeface="MS Pゴシック" pitchFamily="-92" charset="-128"/>
                        </a:rPr>
                        <a:t>A che condizione succede </a:t>
                      </a:r>
                    </a:p>
                  </a:txBody>
                  <a:tcPr marT="45713" marB="4571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dirty="0">
                          <a:ln>
                            <a:noFill/>
                          </a:ln>
                          <a:solidFill>
                            <a:srgbClr val="FF6600"/>
                          </a:solidFill>
                          <a:effectLst/>
                          <a:latin typeface="Tahoma" pitchFamily="34" charset="0"/>
                          <a:ea typeface="MS Pゴシック" pitchFamily="-92" charset="-128"/>
                        </a:rPr>
                        <a:t>Ciò che dovrebbe succedere</a:t>
                      </a:r>
                    </a:p>
                  </a:txBody>
                  <a:tcPr marT="45713" marB="4571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8645105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testo 2">
            <a:extLst>
              <a:ext uri="{FF2B5EF4-FFF2-40B4-BE49-F238E27FC236}">
                <a16:creationId xmlns:a16="http://schemas.microsoft.com/office/drawing/2014/main" id="{117B381F-FB25-C949-9528-4FC24ED855F9}"/>
              </a:ext>
            </a:extLst>
          </p:cNvPr>
          <p:cNvSpPr txBox="1">
            <a:spLocks noGrp="1"/>
          </p:cNvSpPr>
          <p:nvPr>
            <p:ph type="body" idx="4294967295"/>
          </p:nvPr>
        </p:nvSpPr>
        <p:spPr>
          <a:xfrm>
            <a:off x="745958" y="3807873"/>
            <a:ext cx="10700084" cy="1217376"/>
          </a:xfrm>
          <a:ln w="19050">
            <a:solidFill>
              <a:schemeClr val="tx1"/>
            </a:solidFill>
          </a:ln>
        </p:spPr>
        <p:txBody>
          <a:bodyPr rtlCol="0">
            <a:noAutofit/>
          </a:bodyPr>
          <a:lstStyle/>
          <a:p>
            <a:pPr marL="0" indent="0" algn="ctr">
              <a:spcBef>
                <a:spcPts val="100"/>
              </a:spcBef>
              <a:buNone/>
              <a:tabLst>
                <a:tab pos="914034" algn="l"/>
                <a:tab pos="1828434" algn="l"/>
                <a:tab pos="2742834" algn="l"/>
                <a:tab pos="3657234" algn="l"/>
                <a:tab pos="4571634" algn="l"/>
                <a:tab pos="5486034" algn="l"/>
                <a:tab pos="6400434" algn="l"/>
                <a:tab pos="7314834" algn="l"/>
                <a:tab pos="8229234" algn="l"/>
                <a:tab pos="9143634" algn="l"/>
                <a:tab pos="10058034" algn="l"/>
              </a:tabLst>
              <a:defRPr/>
            </a:pPr>
            <a:r>
              <a:rPr lang="it-IT" sz="2000" dirty="0"/>
              <a:t>Una prescrizione farmaceutica </a:t>
            </a:r>
            <a:r>
              <a:rPr lang="it-IT" sz="2000" u="sng" dirty="0"/>
              <a:t>conforme ad indicazioni registrate, linee guida predeterminate o protocolli accreditati</a:t>
            </a:r>
            <a:r>
              <a:rPr lang="it-IT" sz="2000" dirty="0"/>
              <a:t>.</a:t>
            </a:r>
          </a:p>
          <a:p>
            <a:pPr marL="0" indent="0" algn="ctr">
              <a:spcBef>
                <a:spcPts val="100"/>
              </a:spcBef>
              <a:buNone/>
              <a:tabLst>
                <a:tab pos="914034" algn="l"/>
                <a:tab pos="1828434" algn="l"/>
                <a:tab pos="2742834" algn="l"/>
                <a:tab pos="3657234" algn="l"/>
                <a:tab pos="4571634" algn="l"/>
                <a:tab pos="5486034" algn="l"/>
                <a:tab pos="6400434" algn="l"/>
                <a:tab pos="7314834" algn="l"/>
                <a:tab pos="8229234" algn="l"/>
                <a:tab pos="9143634" algn="l"/>
                <a:tab pos="10058034" algn="l"/>
              </a:tabLst>
              <a:defRPr/>
            </a:pPr>
            <a:r>
              <a:rPr lang="it-IT" sz="2000" dirty="0"/>
              <a:t>Se si discosta da queste, il prescrittore ne indica le motivazioni e i riferimenti </a:t>
            </a:r>
            <a:r>
              <a:rPr lang="it-IT" sz="2000" dirty="0" smtClean="0"/>
              <a:t>documentali</a:t>
            </a:r>
            <a:endParaRPr lang="it-IT" sz="2000" dirty="0"/>
          </a:p>
        </p:txBody>
      </p:sp>
      <p:sp>
        <p:nvSpPr>
          <p:cNvPr id="4" name="CasellaDiTesto 3">
            <a:extLst>
              <a:ext uri="{FF2B5EF4-FFF2-40B4-BE49-F238E27FC236}">
                <a16:creationId xmlns:a16="http://schemas.microsoft.com/office/drawing/2014/main" id="{5ACA1DA5-0779-6C4B-830A-2BEF9DFC2D72}"/>
              </a:ext>
            </a:extLst>
          </p:cNvPr>
          <p:cNvSpPr txBox="1"/>
          <p:nvPr/>
        </p:nvSpPr>
        <p:spPr>
          <a:xfrm>
            <a:off x="2079171" y="3184873"/>
            <a:ext cx="8033658" cy="584775"/>
          </a:xfrm>
          <a:prstGeom prst="rect">
            <a:avLst/>
          </a:prstGeom>
          <a:noFill/>
        </p:spPr>
        <p:txBody>
          <a:bodyPr wrap="square" rtlCol="0">
            <a:spAutoFit/>
          </a:bodyPr>
          <a:lstStyle/>
          <a:p>
            <a:pPr algn="ctr"/>
            <a:r>
              <a:rPr lang="it-IT" sz="3200" dirty="0"/>
              <a:t>APPROPRIATEZZA PRESCRITTIVA</a:t>
            </a:r>
          </a:p>
        </p:txBody>
      </p:sp>
      <p:sp>
        <p:nvSpPr>
          <p:cNvPr id="5" name="Text Box 1">
            <a:extLst>
              <a:ext uri="{FF2B5EF4-FFF2-40B4-BE49-F238E27FC236}">
                <a16:creationId xmlns:a16="http://schemas.microsoft.com/office/drawing/2014/main" id="{654124BF-515C-1B4E-839F-3840FB4A97AB}"/>
              </a:ext>
            </a:extLst>
          </p:cNvPr>
          <p:cNvSpPr txBox="1">
            <a:spLocks noChangeArrowheads="1"/>
          </p:cNvSpPr>
          <p:nvPr/>
        </p:nvSpPr>
        <p:spPr bwMode="auto">
          <a:xfrm>
            <a:off x="2002055" y="1256036"/>
            <a:ext cx="6227546" cy="15312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defTabSz="449263">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a:solidFill>
                  <a:schemeClr val="tx1"/>
                </a:solidFill>
                <a:latin typeface="Calibri" panose="020F0502020204030204" pitchFamily="34" charset="0"/>
              </a:defRPr>
            </a:lvl1pPr>
            <a:lvl2pPr marL="742950" indent="-285750" defTabSz="449263">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a:solidFill>
                  <a:schemeClr val="tx1"/>
                </a:solidFill>
                <a:latin typeface="Calibri" panose="020F0502020204030204" pitchFamily="34" charset="0"/>
              </a:defRPr>
            </a:lvl2pPr>
            <a:lvl3pPr marL="1143000" indent="-228600" defTabSz="449263">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a:solidFill>
                  <a:schemeClr val="tx1"/>
                </a:solidFill>
                <a:latin typeface="Calibri" panose="020F0502020204030204" pitchFamily="34" charset="0"/>
              </a:defRPr>
            </a:lvl3pPr>
            <a:lvl4pPr marL="1600200" indent="-228600" defTabSz="449263">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a:solidFill>
                  <a:schemeClr val="tx1"/>
                </a:solidFill>
                <a:latin typeface="Calibri" panose="020F0502020204030204" pitchFamily="34" charset="0"/>
              </a:defRPr>
            </a:lvl4pPr>
            <a:lvl5pPr marL="2057400" indent="-228600" defTabSz="449263">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a:solidFill>
                  <a:schemeClr val="tx1"/>
                </a:solidFill>
                <a:latin typeface="Calibri" panose="020F0502020204030204" pitchFamily="34" charset="0"/>
              </a:defRPr>
            </a:lvl5pPr>
            <a:lvl6pPr marL="2514600" indent="-228600" defTabSz="449263" eaLnBrk="0" fontAlgn="base" hangingPunct="0">
              <a:spcBef>
                <a:spcPct val="0"/>
              </a:spcBef>
              <a:spcAft>
                <a:spcPct val="0"/>
              </a:spcAft>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a:solidFill>
                  <a:schemeClr val="tx1"/>
                </a:solidFill>
                <a:latin typeface="Calibri" panose="020F0502020204030204" pitchFamily="34" charset="0"/>
              </a:defRPr>
            </a:lvl6pPr>
            <a:lvl7pPr marL="2971800" indent="-228600" defTabSz="449263" eaLnBrk="0" fontAlgn="base" hangingPunct="0">
              <a:spcBef>
                <a:spcPct val="0"/>
              </a:spcBef>
              <a:spcAft>
                <a:spcPct val="0"/>
              </a:spcAft>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a:solidFill>
                  <a:schemeClr val="tx1"/>
                </a:solidFill>
                <a:latin typeface="Calibri" panose="020F0502020204030204" pitchFamily="34" charset="0"/>
              </a:defRPr>
            </a:lvl7pPr>
            <a:lvl8pPr marL="3429000" indent="-228600" defTabSz="449263" eaLnBrk="0" fontAlgn="base" hangingPunct="0">
              <a:spcBef>
                <a:spcPct val="0"/>
              </a:spcBef>
              <a:spcAft>
                <a:spcPct val="0"/>
              </a:spcAft>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a:solidFill>
                  <a:schemeClr val="tx1"/>
                </a:solidFill>
                <a:latin typeface="Calibri" panose="020F0502020204030204" pitchFamily="34" charset="0"/>
              </a:defRPr>
            </a:lvl8pPr>
            <a:lvl9pPr marL="3886200" indent="-228600" defTabSz="449263" eaLnBrk="0" fontAlgn="base" hangingPunct="0">
              <a:spcBef>
                <a:spcPct val="0"/>
              </a:spcBef>
              <a:spcAft>
                <a:spcPct val="0"/>
              </a:spcAft>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a:solidFill>
                  <a:schemeClr val="tx1"/>
                </a:solidFill>
                <a:latin typeface="Calibri" panose="020F0502020204030204" pitchFamily="34" charset="0"/>
              </a:defRPr>
            </a:lvl9pPr>
          </a:lstStyle>
          <a:p>
            <a:pPr>
              <a:spcAft>
                <a:spcPts val="100"/>
              </a:spcAft>
            </a:pPr>
            <a:r>
              <a:rPr lang="it-IT" altLang="it-IT" sz="1600" dirty="0">
                <a:solidFill>
                  <a:schemeClr val="tx2"/>
                </a:solidFill>
                <a:latin typeface="+mn-lt"/>
                <a:ea typeface="Microsoft YaHei" panose="020B0503020204020204" pitchFamily="34" charset="-122"/>
              </a:rPr>
              <a:t>		</a:t>
            </a:r>
            <a:r>
              <a:rPr lang="it-IT" altLang="it-IT" dirty="0">
                <a:solidFill>
                  <a:schemeClr val="tx2"/>
                </a:solidFill>
                <a:latin typeface="+mn-lt"/>
                <a:ea typeface="Microsoft YaHei" panose="020B0503020204020204" pitchFamily="34" charset="-122"/>
              </a:rPr>
              <a:t>	La </a:t>
            </a:r>
            <a:r>
              <a:rPr lang="it-IT" altLang="it-IT" u="sng" dirty="0">
                <a:solidFill>
                  <a:schemeClr val="tx2"/>
                </a:solidFill>
                <a:latin typeface="+mn-lt"/>
                <a:ea typeface="Microsoft YaHei" panose="020B0503020204020204" pitchFamily="34" charset="-122"/>
              </a:rPr>
              <a:t>scarsa </a:t>
            </a:r>
            <a:r>
              <a:rPr lang="it-IT" altLang="it-IT" b="1" u="sng" dirty="0">
                <a:solidFill>
                  <a:schemeClr val="tx2"/>
                </a:solidFill>
                <a:latin typeface="+mn-lt"/>
                <a:ea typeface="Microsoft YaHei" panose="020B0503020204020204" pitchFamily="34" charset="-122"/>
              </a:rPr>
              <a:t>appropriatezza</a:t>
            </a:r>
            <a:r>
              <a:rPr lang="it-IT" altLang="it-IT" u="sng" dirty="0">
                <a:solidFill>
                  <a:schemeClr val="tx2"/>
                </a:solidFill>
                <a:latin typeface="+mn-lt"/>
                <a:ea typeface="Microsoft YaHei" panose="020B0503020204020204" pitchFamily="34" charset="-122"/>
              </a:rPr>
              <a:t> e la scarsa </a:t>
            </a:r>
            <a:r>
              <a:rPr lang="it-IT" altLang="it-IT" u="sng" dirty="0" smtClean="0">
                <a:solidFill>
                  <a:schemeClr val="tx2"/>
                </a:solidFill>
                <a:latin typeface="+mn-lt"/>
                <a:ea typeface="Microsoft YaHei" panose="020B0503020204020204" pitchFamily="34" charset="-122"/>
              </a:rPr>
              <a:t> </a:t>
            </a:r>
            <a:r>
              <a:rPr lang="it-IT" altLang="it-IT" b="1" u="sng" dirty="0" smtClean="0">
                <a:solidFill>
                  <a:schemeClr val="tx2"/>
                </a:solidFill>
                <a:latin typeface="+mn-lt"/>
                <a:ea typeface="Microsoft YaHei" panose="020B0503020204020204" pitchFamily="34" charset="-122"/>
              </a:rPr>
              <a:t>aderenza</a:t>
            </a:r>
            <a:r>
              <a:rPr lang="it-IT" altLang="it-IT" u="sng" dirty="0" smtClean="0">
                <a:solidFill>
                  <a:schemeClr val="tx2"/>
                </a:solidFill>
                <a:latin typeface="+mn-lt"/>
                <a:ea typeface="Microsoft YaHei" panose="020B0503020204020204" pitchFamily="34" charset="-122"/>
              </a:rPr>
              <a:t> </a:t>
            </a:r>
            <a:r>
              <a:rPr lang="it-IT" altLang="it-IT" u="sng" dirty="0">
                <a:solidFill>
                  <a:schemeClr val="tx2"/>
                </a:solidFill>
                <a:latin typeface="+mn-lt"/>
                <a:ea typeface="Microsoft YaHei" panose="020B0503020204020204" pitchFamily="34" charset="-122"/>
              </a:rPr>
              <a:t>alle terapie croniche</a:t>
            </a:r>
            <a:r>
              <a:rPr lang="it-IT" altLang="it-IT" dirty="0">
                <a:solidFill>
                  <a:schemeClr val="tx2"/>
                </a:solidFill>
                <a:latin typeface="+mn-lt"/>
                <a:ea typeface="Microsoft YaHei" panose="020B0503020204020204" pitchFamily="34" charset="-122"/>
              </a:rPr>
              <a:t> </a:t>
            </a:r>
            <a:endParaRPr lang="it-IT" altLang="it-IT" dirty="0" smtClean="0">
              <a:solidFill>
                <a:schemeClr val="tx2"/>
              </a:solidFill>
              <a:latin typeface="+mn-lt"/>
              <a:ea typeface="Microsoft YaHei" panose="020B0503020204020204" pitchFamily="34" charset="-122"/>
            </a:endParaRPr>
          </a:p>
          <a:p>
            <a:pPr>
              <a:spcAft>
                <a:spcPts val="100"/>
              </a:spcAft>
            </a:pPr>
            <a:r>
              <a:rPr lang="it-IT" altLang="it-IT" dirty="0" smtClean="0">
                <a:solidFill>
                  <a:schemeClr val="tx2"/>
                </a:solidFill>
                <a:latin typeface="+mn-lt"/>
                <a:ea typeface="Microsoft YaHei" panose="020B0503020204020204" pitchFamily="34" charset="-122"/>
              </a:rPr>
              <a:t>rappresentano </a:t>
            </a:r>
            <a:r>
              <a:rPr lang="it-IT" altLang="it-IT" dirty="0">
                <a:solidFill>
                  <a:schemeClr val="tx2"/>
                </a:solidFill>
                <a:latin typeface="+mn-lt"/>
                <a:ea typeface="Microsoft YaHei" panose="020B0503020204020204" pitchFamily="34" charset="-122"/>
              </a:rPr>
              <a:t>il maggior ostacolo al </a:t>
            </a:r>
            <a:r>
              <a:rPr lang="it-IT" altLang="it-IT" dirty="0" smtClean="0">
                <a:solidFill>
                  <a:schemeClr val="tx2"/>
                </a:solidFill>
                <a:latin typeface="+mn-lt"/>
                <a:ea typeface="Microsoft YaHei" panose="020B0503020204020204" pitchFamily="34" charset="-122"/>
              </a:rPr>
              <a:t>raggiungimento </a:t>
            </a:r>
            <a:r>
              <a:rPr lang="it-IT" altLang="it-IT" dirty="0">
                <a:solidFill>
                  <a:schemeClr val="tx2"/>
                </a:solidFill>
                <a:latin typeface="+mn-lt"/>
                <a:ea typeface="Microsoft YaHei" panose="020B0503020204020204" pitchFamily="34" charset="-122"/>
              </a:rPr>
              <a:t>degli obiettivi di miglioramento </a:t>
            </a:r>
          </a:p>
          <a:p>
            <a:pPr>
              <a:spcAft>
                <a:spcPts val="100"/>
              </a:spcAft>
            </a:pPr>
            <a:r>
              <a:rPr lang="it-IT" altLang="it-IT" dirty="0">
                <a:solidFill>
                  <a:schemeClr val="tx2"/>
                </a:solidFill>
                <a:latin typeface="+mn-lt"/>
                <a:ea typeface="Microsoft YaHei" panose="020B0503020204020204" pitchFamily="34" charset="-122"/>
              </a:rPr>
              <a:t>della salute dimostratosi possibile negli studi clinici</a:t>
            </a:r>
          </a:p>
          <a:p>
            <a:pPr>
              <a:spcAft>
                <a:spcPts val="100"/>
              </a:spcAft>
            </a:pPr>
            <a:endParaRPr lang="it-IT" altLang="it-IT" sz="1600" dirty="0">
              <a:solidFill>
                <a:schemeClr val="tx2"/>
              </a:solidFill>
              <a:latin typeface="+mn-lt"/>
              <a:ea typeface="Microsoft YaHei" panose="020B0503020204020204" pitchFamily="34" charset="-122"/>
            </a:endParaRPr>
          </a:p>
        </p:txBody>
      </p:sp>
      <p:pic>
        <p:nvPicPr>
          <p:cNvPr id="38914" name="Picture 2" descr="Tiro con l'arco, accessori per tutte le età - consigli.it">
            <a:extLst>
              <a:ext uri="{FF2B5EF4-FFF2-40B4-BE49-F238E27FC236}">
                <a16:creationId xmlns:a16="http://schemas.microsoft.com/office/drawing/2014/main" id="{9665B5E9-A071-5743-A019-1B8DB15EC34D}"/>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8086483" y="351637"/>
            <a:ext cx="3806735" cy="2537823"/>
          </a:xfrm>
          <a:prstGeom prst="rect">
            <a:avLst/>
          </a:prstGeom>
          <a:noFill/>
          <a:extLst>
            <a:ext uri="{909E8E84-426E-40DD-AFC4-6F175D3DCCD1}">
              <a14:hiddenFill xmlns:a14="http://schemas.microsoft.com/office/drawing/2010/main">
                <a:solidFill>
                  <a:srgbClr val="FFFFFF"/>
                </a:solidFill>
              </a14:hiddenFill>
            </a:ext>
          </a:extLst>
        </p:spPr>
      </p:pic>
      <p:cxnSp>
        <p:nvCxnSpPr>
          <p:cNvPr id="10" name="Connettore 2 9">
            <a:extLst>
              <a:ext uri="{FF2B5EF4-FFF2-40B4-BE49-F238E27FC236}">
                <a16:creationId xmlns:a16="http://schemas.microsoft.com/office/drawing/2014/main" id="{FFE37372-AD9F-BF41-B250-AB34AA17D53E}"/>
              </a:ext>
            </a:extLst>
          </p:cNvPr>
          <p:cNvCxnSpPr>
            <a:cxnSpLocks/>
          </p:cNvCxnSpPr>
          <p:nvPr/>
        </p:nvCxnSpPr>
        <p:spPr>
          <a:xfrm>
            <a:off x="2207507" y="3477260"/>
            <a:ext cx="700131"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CasellaDiTesto 12">
            <a:extLst>
              <a:ext uri="{FF2B5EF4-FFF2-40B4-BE49-F238E27FC236}">
                <a16:creationId xmlns:a16="http://schemas.microsoft.com/office/drawing/2014/main" id="{070B15DC-8A24-9340-BAA5-DE047E1EBEED}"/>
              </a:ext>
            </a:extLst>
          </p:cNvPr>
          <p:cNvSpPr txBox="1"/>
          <p:nvPr/>
        </p:nvSpPr>
        <p:spPr>
          <a:xfrm>
            <a:off x="745958" y="5398641"/>
            <a:ext cx="10700084" cy="1090042"/>
          </a:xfrm>
          <a:prstGeom prst="rect">
            <a:avLst/>
          </a:prstGeom>
          <a:noFill/>
        </p:spPr>
        <p:txBody>
          <a:bodyPr wrap="square" rtlCol="0">
            <a:spAutoFit/>
          </a:bodyPr>
          <a:lstStyle/>
          <a:p>
            <a:pPr algn="ctr" defTabSz="449263">
              <a:spcBef>
                <a:spcPts val="1250"/>
              </a:spcBef>
              <a:buSzPct val="100000"/>
              <a:tabLst>
                <a:tab pos="0" algn="l"/>
                <a:tab pos="447671" algn="l"/>
                <a:tab pos="896934" algn="l"/>
                <a:tab pos="1346197" algn="l"/>
                <a:tab pos="1795460" algn="l"/>
                <a:tab pos="2244723" algn="l"/>
                <a:tab pos="2693986" algn="l"/>
                <a:tab pos="3143250" algn="l"/>
                <a:tab pos="3592513" algn="l"/>
                <a:tab pos="4041776" algn="l"/>
                <a:tab pos="4491039" algn="l"/>
                <a:tab pos="4940302" algn="l"/>
                <a:tab pos="5389565" algn="l"/>
                <a:tab pos="5838828" algn="l"/>
                <a:tab pos="6288091" algn="l"/>
                <a:tab pos="6737354" algn="l"/>
                <a:tab pos="7186617" algn="l"/>
                <a:tab pos="7635870" algn="l"/>
                <a:tab pos="8085133" algn="l"/>
                <a:tab pos="8534396" algn="l"/>
                <a:tab pos="8983659" algn="l"/>
              </a:tabLst>
              <a:defRPr sz="1800" b="0" i="0" u="none" strike="noStrike" kern="0" cap="none" spc="0" baseline="0">
                <a:solidFill>
                  <a:srgbClr val="000000"/>
                </a:solidFill>
                <a:uFillTx/>
              </a:defRPr>
            </a:pPr>
            <a:r>
              <a:rPr lang="it-IT" kern="0" dirty="0">
                <a:solidFill>
                  <a:srgbClr val="000000"/>
                </a:solidFill>
                <a:ea typeface="Microsoft YaHei" pitchFamily="34"/>
                <a:cs typeface="Arial" pitchFamily="34"/>
              </a:rPr>
              <a:t>APPROPRIATEZZA CLINICA: rappresenta una  sorta di </a:t>
            </a:r>
            <a:r>
              <a:rPr lang="it-IT" u="sng" kern="0" dirty="0">
                <a:solidFill>
                  <a:srgbClr val="000000"/>
                </a:solidFill>
                <a:ea typeface="Microsoft YaHei" pitchFamily="34"/>
                <a:cs typeface="Arial" pitchFamily="34"/>
              </a:rPr>
              <a:t>efficacia individuale</a:t>
            </a:r>
            <a:r>
              <a:rPr lang="it-IT" kern="0" dirty="0">
                <a:solidFill>
                  <a:srgbClr val="000000"/>
                </a:solidFill>
                <a:ea typeface="Microsoft YaHei" pitchFamily="34"/>
                <a:cs typeface="Arial" pitchFamily="34"/>
              </a:rPr>
              <a:t>, relativa ai bisogni e alla complessità del singolo paziente.</a:t>
            </a:r>
          </a:p>
          <a:p>
            <a:pPr algn="ctr" defTabSz="449263">
              <a:spcBef>
                <a:spcPts val="1250"/>
              </a:spcBef>
              <a:buSzPct val="100000"/>
              <a:tabLst>
                <a:tab pos="0" algn="l"/>
                <a:tab pos="447671" algn="l"/>
                <a:tab pos="896934" algn="l"/>
                <a:tab pos="1346197" algn="l"/>
                <a:tab pos="1795460" algn="l"/>
                <a:tab pos="2244723" algn="l"/>
                <a:tab pos="2693986" algn="l"/>
                <a:tab pos="3143250" algn="l"/>
                <a:tab pos="3592513" algn="l"/>
                <a:tab pos="4041776" algn="l"/>
                <a:tab pos="4491039" algn="l"/>
                <a:tab pos="4940302" algn="l"/>
                <a:tab pos="5389565" algn="l"/>
                <a:tab pos="5838828" algn="l"/>
                <a:tab pos="6288091" algn="l"/>
                <a:tab pos="6737354" algn="l"/>
                <a:tab pos="7186617" algn="l"/>
                <a:tab pos="7635870" algn="l"/>
                <a:tab pos="8085133" algn="l"/>
                <a:tab pos="8534396" algn="l"/>
                <a:tab pos="8983659" algn="l"/>
              </a:tabLst>
              <a:defRPr sz="1800" b="0" i="0" u="none" strike="noStrike" kern="0" cap="none" spc="0" baseline="0">
                <a:solidFill>
                  <a:srgbClr val="000000"/>
                </a:solidFill>
                <a:uFillTx/>
              </a:defRPr>
            </a:pPr>
            <a:r>
              <a:rPr lang="it-IT" kern="0" dirty="0" smtClean="0">
                <a:solidFill>
                  <a:srgbClr val="000000"/>
                </a:solidFill>
                <a:ea typeface="Microsoft YaHei" pitchFamily="34"/>
                <a:cs typeface="Arial" pitchFamily="34"/>
              </a:rPr>
              <a:t>❗ ️</a:t>
            </a:r>
            <a:r>
              <a:rPr lang="it-IT" b="1" kern="0" dirty="0">
                <a:solidFill>
                  <a:srgbClr val="000000"/>
                </a:solidFill>
                <a:ea typeface="Microsoft YaHei" pitchFamily="34"/>
                <a:cs typeface="Arial" pitchFamily="34"/>
              </a:rPr>
              <a:t>A parità di </a:t>
            </a:r>
            <a:r>
              <a:rPr lang="it-IT" b="1" kern="0" dirty="0" smtClean="0">
                <a:solidFill>
                  <a:srgbClr val="000000"/>
                </a:solidFill>
                <a:ea typeface="Microsoft YaHei" pitchFamily="34"/>
                <a:cs typeface="Arial" pitchFamily="34"/>
              </a:rPr>
              <a:t>efficacia e sicurezza, </a:t>
            </a:r>
            <a:r>
              <a:rPr lang="it-IT" b="1" kern="0" dirty="0">
                <a:solidFill>
                  <a:srgbClr val="000000"/>
                </a:solidFill>
                <a:ea typeface="Microsoft YaHei" pitchFamily="34"/>
                <a:cs typeface="Arial" pitchFamily="34"/>
              </a:rPr>
              <a:t>utilizzare la molecola meno </a:t>
            </a:r>
            <a:r>
              <a:rPr lang="it-IT" b="1" kern="0" dirty="0" smtClean="0">
                <a:solidFill>
                  <a:srgbClr val="000000"/>
                </a:solidFill>
                <a:ea typeface="Microsoft YaHei" pitchFamily="34"/>
                <a:cs typeface="Arial" pitchFamily="34"/>
              </a:rPr>
              <a:t>costosa</a:t>
            </a:r>
            <a:endParaRPr lang="it-IT" b="1" kern="0" dirty="0">
              <a:solidFill>
                <a:srgbClr val="000000"/>
              </a:solidFill>
              <a:ea typeface="Microsoft YaHei" pitchFamily="34"/>
              <a:cs typeface="Arial" pitchFamily="34"/>
            </a:endParaRPr>
          </a:p>
        </p:txBody>
      </p:sp>
      <p:sp>
        <p:nvSpPr>
          <p:cNvPr id="15" name="Text Box 3">
            <a:extLst>
              <a:ext uri="{FF2B5EF4-FFF2-40B4-BE49-F238E27FC236}">
                <a16:creationId xmlns:a16="http://schemas.microsoft.com/office/drawing/2014/main" id="{1558504C-FC13-9B4A-9EF9-D7430856C8F7}"/>
              </a:ext>
            </a:extLst>
          </p:cNvPr>
          <p:cNvSpPr txBox="1">
            <a:spLocks noChangeArrowheads="1"/>
          </p:cNvSpPr>
          <p:nvPr/>
        </p:nvSpPr>
        <p:spPr bwMode="auto">
          <a:xfrm>
            <a:off x="4030420" y="6580911"/>
            <a:ext cx="8112125" cy="279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4" tIns="46798" rIns="90004" bIns="46798">
            <a:spAutoFit/>
          </a:bodyPr>
          <a:lstStyle>
            <a:lvl1pPr defTabSz="449263">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a:solidFill>
                  <a:schemeClr val="tx1"/>
                </a:solidFill>
                <a:latin typeface="Calibri" panose="020F0502020204030204" pitchFamily="34" charset="0"/>
              </a:defRPr>
            </a:lvl1pPr>
            <a:lvl2pPr marL="742950" indent="-285750" defTabSz="449263">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a:solidFill>
                  <a:schemeClr val="tx1"/>
                </a:solidFill>
                <a:latin typeface="Calibri" panose="020F0502020204030204" pitchFamily="34" charset="0"/>
              </a:defRPr>
            </a:lvl2pPr>
            <a:lvl3pPr marL="1143000" indent="-228600" defTabSz="449263">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a:solidFill>
                  <a:schemeClr val="tx1"/>
                </a:solidFill>
                <a:latin typeface="Calibri" panose="020F0502020204030204" pitchFamily="34" charset="0"/>
              </a:defRPr>
            </a:lvl3pPr>
            <a:lvl4pPr marL="1600200" indent="-228600" defTabSz="449263">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a:solidFill>
                  <a:schemeClr val="tx1"/>
                </a:solidFill>
                <a:latin typeface="Calibri" panose="020F0502020204030204" pitchFamily="34" charset="0"/>
              </a:defRPr>
            </a:lvl4pPr>
            <a:lvl5pPr marL="2057400" indent="-228600" defTabSz="449263">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a:solidFill>
                  <a:schemeClr val="tx1"/>
                </a:solidFill>
                <a:latin typeface="Calibri" panose="020F0502020204030204" pitchFamily="34" charset="0"/>
              </a:defRPr>
            </a:lvl5pPr>
            <a:lvl6pPr marL="2514600" indent="-228600" defTabSz="449263" eaLnBrk="0" fontAlgn="base" hangingPunct="0">
              <a:spcBef>
                <a:spcPct val="0"/>
              </a:spcBef>
              <a:spcAft>
                <a:spcPct val="0"/>
              </a:spcAft>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a:solidFill>
                  <a:schemeClr val="tx1"/>
                </a:solidFill>
                <a:latin typeface="Calibri" panose="020F0502020204030204" pitchFamily="34" charset="0"/>
              </a:defRPr>
            </a:lvl6pPr>
            <a:lvl7pPr marL="2971800" indent="-228600" defTabSz="449263" eaLnBrk="0" fontAlgn="base" hangingPunct="0">
              <a:spcBef>
                <a:spcPct val="0"/>
              </a:spcBef>
              <a:spcAft>
                <a:spcPct val="0"/>
              </a:spcAft>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a:solidFill>
                  <a:schemeClr val="tx1"/>
                </a:solidFill>
                <a:latin typeface="Calibri" panose="020F0502020204030204" pitchFamily="34" charset="0"/>
              </a:defRPr>
            </a:lvl7pPr>
            <a:lvl8pPr marL="3429000" indent="-228600" defTabSz="449263" eaLnBrk="0" fontAlgn="base" hangingPunct="0">
              <a:spcBef>
                <a:spcPct val="0"/>
              </a:spcBef>
              <a:spcAft>
                <a:spcPct val="0"/>
              </a:spcAft>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a:solidFill>
                  <a:schemeClr val="tx1"/>
                </a:solidFill>
                <a:latin typeface="Calibri" panose="020F0502020204030204" pitchFamily="34" charset="0"/>
              </a:defRPr>
            </a:lvl8pPr>
            <a:lvl9pPr marL="3886200" indent="-228600" defTabSz="449263" eaLnBrk="0" fontAlgn="base" hangingPunct="0">
              <a:spcBef>
                <a:spcPct val="0"/>
              </a:spcBef>
              <a:spcAft>
                <a:spcPct val="0"/>
              </a:spcAft>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a:solidFill>
                  <a:schemeClr val="tx1"/>
                </a:solidFill>
                <a:latin typeface="Calibri" panose="020F0502020204030204" pitchFamily="34" charset="0"/>
              </a:defRPr>
            </a:lvl9pPr>
          </a:lstStyle>
          <a:p>
            <a:pPr algn="r">
              <a:spcBef>
                <a:spcPts val="875"/>
              </a:spcBef>
            </a:pPr>
            <a:r>
              <a:rPr lang="it-IT" altLang="it-IT" sz="1200" dirty="0">
                <a:solidFill>
                  <a:schemeClr val="tx2"/>
                </a:solidFill>
                <a:latin typeface="+mn-lt"/>
                <a:ea typeface="Microsoft YaHei" panose="020B0503020204020204" pitchFamily="34" charset="-122"/>
              </a:rPr>
              <a:t>Fonte: L’uso dei Farmaci in Italia. Rapporto nazionale anno 2007</a:t>
            </a:r>
            <a:r>
              <a:rPr lang="en-US" altLang="it-IT" sz="1200" dirty="0">
                <a:solidFill>
                  <a:schemeClr val="tx2"/>
                </a:solidFill>
                <a:latin typeface="+mn-lt"/>
                <a:ea typeface="Microsoft YaHei" panose="020B0503020204020204" pitchFamily="34" charset="-122"/>
              </a:rPr>
              <a:t> (</a:t>
            </a:r>
            <a:r>
              <a:rPr lang="en-US" altLang="it-IT" sz="1200" dirty="0" err="1">
                <a:solidFill>
                  <a:schemeClr val="tx2"/>
                </a:solidFill>
                <a:latin typeface="+mn-lt"/>
                <a:ea typeface="Microsoft YaHei" panose="020B0503020204020204" pitchFamily="34" charset="-122"/>
              </a:rPr>
              <a:t>OsMed</a:t>
            </a:r>
            <a:r>
              <a:rPr lang="en-US" altLang="it-IT" sz="1200" dirty="0">
                <a:solidFill>
                  <a:schemeClr val="tx2"/>
                </a:solidFill>
                <a:latin typeface="+mn-lt"/>
                <a:ea typeface="Microsoft YaHei" panose="020B0503020204020204" pitchFamily="34" charset="-122"/>
              </a:rPr>
              <a:t>).</a:t>
            </a:r>
          </a:p>
        </p:txBody>
      </p:sp>
    </p:spTree>
    <p:extLst>
      <p:ext uri="{BB962C8B-B14F-4D97-AF65-F5344CB8AC3E}">
        <p14:creationId xmlns:p14="http://schemas.microsoft.com/office/powerpoint/2010/main" val="1087427700"/>
      </p:ext>
    </p:extLst>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p:cNvSpPr/>
          <p:nvPr/>
        </p:nvSpPr>
        <p:spPr>
          <a:xfrm>
            <a:off x="774441" y="2551837"/>
            <a:ext cx="11066106" cy="2677656"/>
          </a:xfrm>
          <a:prstGeom prst="rect">
            <a:avLst/>
          </a:prstGeom>
        </p:spPr>
        <p:txBody>
          <a:bodyPr wrap="square">
            <a:spAutoFit/>
          </a:bodyPr>
          <a:lstStyle/>
          <a:p>
            <a:r>
              <a:rPr lang="it-IT" sz="2800" dirty="0">
                <a:solidFill>
                  <a:srgbClr val="444444"/>
                </a:solidFill>
                <a:latin typeface="Century Gothic" panose="020B0502020202020204" pitchFamily="34" charset="0"/>
              </a:rPr>
              <a:t>«Il farmacista, nell'attività di dispensazione, consiglio e consulenza professionale, è tenuto a garantire un'informazione sanitaria chiara, corretta e completa, con particolare riferimento </a:t>
            </a:r>
            <a:r>
              <a:rPr lang="it-IT" sz="2800" b="1" dirty="0">
                <a:solidFill>
                  <a:srgbClr val="444444"/>
                </a:solidFill>
                <a:latin typeface="Century Gothic" panose="020B0502020202020204" pitchFamily="34" charset="0"/>
              </a:rPr>
              <a:t>all'uso appropriato dei medicinali</a:t>
            </a:r>
            <a:r>
              <a:rPr lang="it-IT" sz="2800" dirty="0">
                <a:solidFill>
                  <a:srgbClr val="444444"/>
                </a:solidFill>
                <a:latin typeface="Century Gothic" panose="020B0502020202020204" pitchFamily="34" charset="0"/>
              </a:rPr>
              <a:t>, alle loro controindicazioni e interazioni, agli effetti collaterali e alla loro conservazione (art. 15 del Cod. deontologico)»</a:t>
            </a:r>
            <a:endParaRPr lang="it-IT" sz="2800" dirty="0">
              <a:latin typeface="Century Gothic" panose="020B0502020202020204" pitchFamily="34" charset="0"/>
            </a:endParaRPr>
          </a:p>
        </p:txBody>
      </p:sp>
      <p:sp>
        <p:nvSpPr>
          <p:cNvPr id="3" name="CasellaDiTesto 2">
            <a:extLst>
              <a:ext uri="{FF2B5EF4-FFF2-40B4-BE49-F238E27FC236}">
                <a16:creationId xmlns:a16="http://schemas.microsoft.com/office/drawing/2014/main" id="{1A4A566B-3BF9-EB43-8A1F-F53C62C10020}"/>
              </a:ext>
            </a:extLst>
          </p:cNvPr>
          <p:cNvSpPr txBox="1"/>
          <p:nvPr/>
        </p:nvSpPr>
        <p:spPr>
          <a:xfrm>
            <a:off x="1171893" y="1539764"/>
            <a:ext cx="10058399" cy="461665"/>
          </a:xfrm>
          <a:prstGeom prst="rect">
            <a:avLst/>
          </a:prstGeom>
          <a:noFill/>
          <a:ln w="19050">
            <a:solidFill>
              <a:schemeClr val="tx1"/>
            </a:solidFill>
          </a:ln>
        </p:spPr>
        <p:txBody>
          <a:bodyPr wrap="square" rtlCol="0">
            <a:spAutoFit/>
          </a:bodyPr>
          <a:lstStyle/>
          <a:p>
            <a:pPr algn="ctr"/>
            <a:r>
              <a:rPr lang="it-IT" sz="2400" b="1" u="sng" kern="0" dirty="0" smtClean="0">
                <a:solidFill>
                  <a:srgbClr val="000000"/>
                </a:solidFill>
                <a:ea typeface="Microsoft YaHei" pitchFamily="34"/>
                <a:cs typeface="Arial" pitchFamily="34"/>
              </a:rPr>
              <a:t>CODICE DEONTOLOGICO FARMACISTA  - APPROPRIATEZZA</a:t>
            </a:r>
            <a:endParaRPr lang="it-IT" sz="2400" b="1" kern="0" dirty="0">
              <a:solidFill>
                <a:srgbClr val="000000"/>
              </a:solidFill>
              <a:ea typeface="Microsoft YaHei" pitchFamily="34"/>
              <a:cs typeface="Arial" pitchFamily="34"/>
            </a:endParaRPr>
          </a:p>
        </p:txBody>
      </p:sp>
    </p:spTree>
    <p:extLst>
      <p:ext uri="{BB962C8B-B14F-4D97-AF65-F5344CB8AC3E}">
        <p14:creationId xmlns:p14="http://schemas.microsoft.com/office/powerpoint/2010/main" val="33263429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1">
            <a:extLst>
              <a:ext uri="{FF2B5EF4-FFF2-40B4-BE49-F238E27FC236}">
                <a16:creationId xmlns:a16="http://schemas.microsoft.com/office/drawing/2014/main" id="{04E5CB55-EEC4-9147-B113-79D4252D169A}"/>
              </a:ext>
            </a:extLst>
          </p:cNvPr>
          <p:cNvSpPr txBox="1"/>
          <p:nvPr/>
        </p:nvSpPr>
        <p:spPr>
          <a:xfrm>
            <a:off x="721893" y="3057781"/>
            <a:ext cx="10748211" cy="1539082"/>
          </a:xfrm>
          <a:prstGeom prst="rect">
            <a:avLst/>
          </a:prstGeom>
          <a:noFill/>
          <a:ln cap="flat">
            <a:noFill/>
          </a:ln>
        </p:spPr>
        <p:txBody>
          <a:bodyPr lIns="45720" rIns="45720"/>
          <a:lstStyle/>
          <a:p>
            <a:pPr algn="ctr" defTabSz="449263">
              <a:spcBef>
                <a:spcPts val="500"/>
              </a:spcBef>
              <a:buSzPct val="95000"/>
              <a:tabLst>
                <a:tab pos="0" algn="l"/>
                <a:tab pos="447671" algn="l"/>
                <a:tab pos="896934" algn="l"/>
                <a:tab pos="1346197" algn="l"/>
                <a:tab pos="1795460" algn="l"/>
                <a:tab pos="2244723" algn="l"/>
                <a:tab pos="2693986" algn="l"/>
                <a:tab pos="3143250" algn="l"/>
                <a:tab pos="3592513" algn="l"/>
                <a:tab pos="4041776" algn="l"/>
                <a:tab pos="4491039" algn="l"/>
                <a:tab pos="4940302" algn="l"/>
                <a:tab pos="5389565" algn="l"/>
                <a:tab pos="5838828" algn="l"/>
                <a:tab pos="6288091" algn="l"/>
                <a:tab pos="6737354" algn="l"/>
                <a:tab pos="7186617" algn="l"/>
                <a:tab pos="7635870" algn="l"/>
                <a:tab pos="8085133" algn="l"/>
                <a:tab pos="8534396" algn="l"/>
                <a:tab pos="8983659" algn="l"/>
              </a:tabLst>
              <a:defRPr sz="1800" b="0" i="0" u="none" strike="noStrike" kern="0" cap="none" spc="0" baseline="0">
                <a:solidFill>
                  <a:srgbClr val="000000"/>
                </a:solidFill>
                <a:uFillTx/>
              </a:defRPr>
            </a:pPr>
            <a:r>
              <a:rPr lang="it-IT" sz="2000" b="1" kern="0" dirty="0">
                <a:solidFill>
                  <a:srgbClr val="000000"/>
                </a:solidFill>
                <a:ea typeface="Microsoft YaHei" pitchFamily="34"/>
                <a:cs typeface="Arial" pitchFamily="34"/>
              </a:rPr>
              <a:t>ADERENZA</a:t>
            </a:r>
            <a:r>
              <a:rPr lang="it-IT" sz="2000" kern="0" dirty="0">
                <a:solidFill>
                  <a:srgbClr val="000000"/>
                </a:solidFill>
                <a:ea typeface="Microsoft YaHei" pitchFamily="34"/>
                <a:cs typeface="Arial" pitchFamily="34"/>
              </a:rPr>
              <a:t>= NUMERO DI DOSI PRESCRITTE EFFETTIVAMENTE ASSUNTE DAL PAZIENTE </a:t>
            </a:r>
          </a:p>
          <a:p>
            <a:pPr algn="ctr" defTabSz="449263">
              <a:spcBef>
                <a:spcPts val="500"/>
              </a:spcBef>
              <a:buSzPct val="95000"/>
              <a:tabLst>
                <a:tab pos="0" algn="l"/>
                <a:tab pos="447671" algn="l"/>
                <a:tab pos="896934" algn="l"/>
                <a:tab pos="1346197" algn="l"/>
                <a:tab pos="1795460" algn="l"/>
                <a:tab pos="2244723" algn="l"/>
                <a:tab pos="2693986" algn="l"/>
                <a:tab pos="3143250" algn="l"/>
                <a:tab pos="3592513" algn="l"/>
                <a:tab pos="4041776" algn="l"/>
                <a:tab pos="4491039" algn="l"/>
                <a:tab pos="4940302" algn="l"/>
                <a:tab pos="5389565" algn="l"/>
                <a:tab pos="5838828" algn="l"/>
                <a:tab pos="6288091" algn="l"/>
                <a:tab pos="6737354" algn="l"/>
                <a:tab pos="7186617" algn="l"/>
                <a:tab pos="7635870" algn="l"/>
                <a:tab pos="8085133" algn="l"/>
                <a:tab pos="8534396" algn="l"/>
                <a:tab pos="8983659" algn="l"/>
              </a:tabLst>
              <a:defRPr sz="1800" b="0" i="0" u="none" strike="noStrike" kern="0" cap="none" spc="0" baseline="0">
                <a:solidFill>
                  <a:srgbClr val="000000"/>
                </a:solidFill>
                <a:uFillTx/>
              </a:defRPr>
            </a:pPr>
            <a:r>
              <a:rPr lang="it-IT" sz="2000" kern="0" dirty="0">
                <a:solidFill>
                  <a:srgbClr val="000000"/>
                </a:solidFill>
                <a:ea typeface="Microsoft YaHei" pitchFamily="34"/>
                <a:cs typeface="Arial" pitchFamily="34"/>
              </a:rPr>
              <a:t>IN UN DETERMINATO PERIODO DI TEMPO</a:t>
            </a:r>
          </a:p>
          <a:p>
            <a:pPr algn="ctr" defTabSz="449263">
              <a:spcBef>
                <a:spcPts val="500"/>
              </a:spcBef>
              <a:buSzPct val="95000"/>
              <a:tabLst>
                <a:tab pos="0" algn="l"/>
                <a:tab pos="447671" algn="l"/>
                <a:tab pos="896934" algn="l"/>
                <a:tab pos="1346197" algn="l"/>
                <a:tab pos="1795460" algn="l"/>
                <a:tab pos="2244723" algn="l"/>
                <a:tab pos="2693986" algn="l"/>
                <a:tab pos="3143250" algn="l"/>
                <a:tab pos="3592513" algn="l"/>
                <a:tab pos="4041776" algn="l"/>
                <a:tab pos="4491039" algn="l"/>
                <a:tab pos="4940302" algn="l"/>
                <a:tab pos="5389565" algn="l"/>
                <a:tab pos="5838828" algn="l"/>
                <a:tab pos="6288091" algn="l"/>
                <a:tab pos="6737354" algn="l"/>
                <a:tab pos="7186617" algn="l"/>
                <a:tab pos="7635870" algn="l"/>
                <a:tab pos="8085133" algn="l"/>
                <a:tab pos="8534396" algn="l"/>
                <a:tab pos="8983659" algn="l"/>
              </a:tabLst>
              <a:defRPr sz="1800" b="0" i="0" u="none" strike="noStrike" kern="0" cap="none" spc="0" baseline="0">
                <a:solidFill>
                  <a:srgbClr val="000000"/>
                </a:solidFill>
                <a:uFillTx/>
              </a:defRPr>
            </a:pPr>
            <a:endParaRPr lang="it-IT" kern="0" dirty="0">
              <a:solidFill>
                <a:srgbClr val="000000"/>
              </a:solidFill>
              <a:ea typeface="Microsoft YaHei" pitchFamily="34"/>
              <a:cs typeface="Arial" pitchFamily="34"/>
            </a:endParaRPr>
          </a:p>
          <a:p>
            <a:pPr algn="ctr" defTabSz="449263">
              <a:spcBef>
                <a:spcPts val="500"/>
              </a:spcBef>
              <a:buSzPct val="95000"/>
              <a:tabLst>
                <a:tab pos="0" algn="l"/>
                <a:tab pos="447671" algn="l"/>
                <a:tab pos="896934" algn="l"/>
                <a:tab pos="1346197" algn="l"/>
                <a:tab pos="1795460" algn="l"/>
                <a:tab pos="2244723" algn="l"/>
                <a:tab pos="2693986" algn="l"/>
                <a:tab pos="3143250" algn="l"/>
                <a:tab pos="3592513" algn="l"/>
                <a:tab pos="4041776" algn="l"/>
                <a:tab pos="4491039" algn="l"/>
                <a:tab pos="4940302" algn="l"/>
                <a:tab pos="5389565" algn="l"/>
                <a:tab pos="5838828" algn="l"/>
                <a:tab pos="6288091" algn="l"/>
                <a:tab pos="6737354" algn="l"/>
                <a:tab pos="7186617" algn="l"/>
                <a:tab pos="7635870" algn="l"/>
                <a:tab pos="8085133" algn="l"/>
                <a:tab pos="8534396" algn="l"/>
                <a:tab pos="8983659" algn="l"/>
              </a:tabLst>
              <a:defRPr sz="1800" b="0" i="0" u="none" strike="noStrike" kern="0" cap="none" spc="0" baseline="0">
                <a:solidFill>
                  <a:srgbClr val="000000"/>
                </a:solidFill>
                <a:uFillTx/>
              </a:defRPr>
            </a:pPr>
            <a:r>
              <a:rPr lang="it-IT" kern="0" dirty="0">
                <a:solidFill>
                  <a:srgbClr val="000000"/>
                </a:solidFill>
                <a:ea typeface="Microsoft YaHei" pitchFamily="34"/>
                <a:cs typeface="Arial" pitchFamily="34"/>
              </a:rPr>
              <a:t>È maggiore nelle patologie acute che in quelle croniche (48%-76%) (aderenza ottimale &gt; 80%)</a:t>
            </a:r>
          </a:p>
        </p:txBody>
      </p:sp>
      <p:sp>
        <p:nvSpPr>
          <p:cNvPr id="105475" name="Text Box 5">
            <a:extLst>
              <a:ext uri="{FF2B5EF4-FFF2-40B4-BE49-F238E27FC236}">
                <a16:creationId xmlns:a16="http://schemas.microsoft.com/office/drawing/2014/main" id="{D09CB7C5-D30A-A64F-A65F-1E56ED86DB63}"/>
              </a:ext>
            </a:extLst>
          </p:cNvPr>
          <p:cNvSpPr txBox="1">
            <a:spLocks noChangeArrowheads="1"/>
          </p:cNvSpPr>
          <p:nvPr/>
        </p:nvSpPr>
        <p:spPr bwMode="auto">
          <a:xfrm>
            <a:off x="2171701" y="7375525"/>
            <a:ext cx="7991475" cy="446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4" tIns="44997" rIns="90004" bIns="44997"/>
          <a:lstStyle>
            <a:lvl1pPr defTabSz="449263">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a:solidFill>
                  <a:schemeClr val="tx1"/>
                </a:solidFill>
                <a:latin typeface="Calibri" panose="020F0502020204030204" pitchFamily="34" charset="0"/>
              </a:defRPr>
            </a:lvl1pPr>
            <a:lvl2pPr marL="742950" indent="-285750" defTabSz="449263">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a:solidFill>
                  <a:schemeClr val="tx1"/>
                </a:solidFill>
                <a:latin typeface="Calibri" panose="020F0502020204030204" pitchFamily="34" charset="0"/>
              </a:defRPr>
            </a:lvl2pPr>
            <a:lvl3pPr marL="1143000" indent="-228600" defTabSz="449263">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a:solidFill>
                  <a:schemeClr val="tx1"/>
                </a:solidFill>
                <a:latin typeface="Calibri" panose="020F0502020204030204" pitchFamily="34" charset="0"/>
              </a:defRPr>
            </a:lvl3pPr>
            <a:lvl4pPr marL="1600200" indent="-228600" defTabSz="449263">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a:solidFill>
                  <a:schemeClr val="tx1"/>
                </a:solidFill>
                <a:latin typeface="Calibri" panose="020F0502020204030204" pitchFamily="34" charset="0"/>
              </a:defRPr>
            </a:lvl4pPr>
            <a:lvl5pPr marL="2057400" indent="-228600" defTabSz="449263">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a:solidFill>
                  <a:schemeClr val="tx1"/>
                </a:solidFill>
                <a:latin typeface="Calibri" panose="020F0502020204030204" pitchFamily="34" charset="0"/>
              </a:defRPr>
            </a:lvl5pPr>
            <a:lvl6pPr marL="2514600" indent="-228600" defTabSz="449263" eaLnBrk="0" fontAlgn="base" hangingPunct="0">
              <a:spcBef>
                <a:spcPct val="0"/>
              </a:spcBef>
              <a:spcAft>
                <a:spcPct val="0"/>
              </a:spcAft>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a:solidFill>
                  <a:schemeClr val="tx1"/>
                </a:solidFill>
                <a:latin typeface="Calibri" panose="020F0502020204030204" pitchFamily="34" charset="0"/>
              </a:defRPr>
            </a:lvl6pPr>
            <a:lvl7pPr marL="2971800" indent="-228600" defTabSz="449263" eaLnBrk="0" fontAlgn="base" hangingPunct="0">
              <a:spcBef>
                <a:spcPct val="0"/>
              </a:spcBef>
              <a:spcAft>
                <a:spcPct val="0"/>
              </a:spcAft>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a:solidFill>
                  <a:schemeClr val="tx1"/>
                </a:solidFill>
                <a:latin typeface="Calibri" panose="020F0502020204030204" pitchFamily="34" charset="0"/>
              </a:defRPr>
            </a:lvl7pPr>
            <a:lvl8pPr marL="3429000" indent="-228600" defTabSz="449263" eaLnBrk="0" fontAlgn="base" hangingPunct="0">
              <a:spcBef>
                <a:spcPct val="0"/>
              </a:spcBef>
              <a:spcAft>
                <a:spcPct val="0"/>
              </a:spcAft>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a:solidFill>
                  <a:schemeClr val="tx1"/>
                </a:solidFill>
                <a:latin typeface="Calibri" panose="020F0502020204030204" pitchFamily="34" charset="0"/>
              </a:defRPr>
            </a:lvl8pPr>
            <a:lvl9pPr marL="3886200" indent="-228600" defTabSz="449263" eaLnBrk="0" fontAlgn="base" hangingPunct="0">
              <a:spcBef>
                <a:spcPct val="0"/>
              </a:spcBef>
              <a:spcAft>
                <a:spcPct val="0"/>
              </a:spcAft>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a:solidFill>
                  <a:schemeClr val="tx1"/>
                </a:solidFill>
                <a:latin typeface="Calibri" panose="020F0502020204030204" pitchFamily="34" charset="0"/>
              </a:defRPr>
            </a:lvl9pPr>
          </a:lstStyle>
          <a:p>
            <a:pPr>
              <a:lnSpc>
                <a:spcPct val="90000"/>
              </a:lnSpc>
              <a:spcBef>
                <a:spcPts val="500"/>
              </a:spcBef>
              <a:spcAft>
                <a:spcPts val="1250"/>
              </a:spcAft>
            </a:pPr>
            <a:endParaRPr lang="it-IT" altLang="it-IT" b="1">
              <a:solidFill>
                <a:srgbClr val="FF0000"/>
              </a:solidFill>
              <a:latin typeface="Arial" panose="020B0604020202020204" pitchFamily="34" charset="0"/>
              <a:ea typeface="Microsoft YaHei" panose="020B0503020204020204" pitchFamily="34" charset="-122"/>
            </a:endParaRPr>
          </a:p>
        </p:txBody>
      </p:sp>
      <p:sp>
        <p:nvSpPr>
          <p:cNvPr id="6" name="CasellaDiTesto 5">
            <a:extLst>
              <a:ext uri="{FF2B5EF4-FFF2-40B4-BE49-F238E27FC236}">
                <a16:creationId xmlns:a16="http://schemas.microsoft.com/office/drawing/2014/main" id="{E43E1112-788A-4842-9CB9-A596D2372CDD}"/>
              </a:ext>
            </a:extLst>
          </p:cNvPr>
          <p:cNvSpPr txBox="1"/>
          <p:nvPr/>
        </p:nvSpPr>
        <p:spPr>
          <a:xfrm>
            <a:off x="6096000" y="440441"/>
            <a:ext cx="5680445" cy="582184"/>
          </a:xfrm>
          <a:prstGeom prst="rect">
            <a:avLst/>
          </a:prstGeom>
          <a:noFill/>
        </p:spPr>
        <p:txBody>
          <a:bodyPr wrap="square" rtlCol="0">
            <a:spAutoFit/>
          </a:bodyPr>
          <a:lstStyle/>
          <a:p>
            <a:pPr algn="ctr"/>
            <a:r>
              <a:rPr lang="it-IT" sz="3200" dirty="0"/>
              <a:t>ADERENZA TERAPEUTICA</a:t>
            </a:r>
          </a:p>
        </p:txBody>
      </p:sp>
      <p:cxnSp>
        <p:nvCxnSpPr>
          <p:cNvPr id="8" name="Connettore 2 7">
            <a:extLst>
              <a:ext uri="{FF2B5EF4-FFF2-40B4-BE49-F238E27FC236}">
                <a16:creationId xmlns:a16="http://schemas.microsoft.com/office/drawing/2014/main" id="{D64C3AFB-CF27-5247-9AD7-99CACECD33CD}"/>
              </a:ext>
            </a:extLst>
          </p:cNvPr>
          <p:cNvCxnSpPr>
            <a:cxnSpLocks/>
          </p:cNvCxnSpPr>
          <p:nvPr/>
        </p:nvCxnSpPr>
        <p:spPr>
          <a:xfrm>
            <a:off x="5607853" y="731533"/>
            <a:ext cx="700131"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 name="CasellaDiTesto 2">
            <a:extLst>
              <a:ext uri="{FF2B5EF4-FFF2-40B4-BE49-F238E27FC236}">
                <a16:creationId xmlns:a16="http://schemas.microsoft.com/office/drawing/2014/main" id="{1A4A566B-3BF9-EB43-8A1F-F53C62C10020}"/>
              </a:ext>
            </a:extLst>
          </p:cNvPr>
          <p:cNvSpPr txBox="1"/>
          <p:nvPr/>
        </p:nvSpPr>
        <p:spPr>
          <a:xfrm>
            <a:off x="1909011" y="1339709"/>
            <a:ext cx="10058399" cy="1015663"/>
          </a:xfrm>
          <a:prstGeom prst="rect">
            <a:avLst/>
          </a:prstGeom>
          <a:noFill/>
          <a:ln w="19050">
            <a:solidFill>
              <a:schemeClr val="tx1"/>
            </a:solidFill>
          </a:ln>
        </p:spPr>
        <p:txBody>
          <a:bodyPr wrap="square" rtlCol="0">
            <a:spAutoFit/>
          </a:bodyPr>
          <a:lstStyle/>
          <a:p>
            <a:pPr algn="ctr"/>
            <a:r>
              <a:rPr lang="it-IT" sz="2000" kern="0" dirty="0">
                <a:solidFill>
                  <a:srgbClr val="000000"/>
                </a:solidFill>
                <a:ea typeface="Microsoft YaHei" pitchFamily="34"/>
                <a:cs typeface="Arial" pitchFamily="34"/>
              </a:rPr>
              <a:t>Grado di </a:t>
            </a:r>
            <a:r>
              <a:rPr lang="it-IT" sz="2000" u="sng" kern="0" dirty="0">
                <a:solidFill>
                  <a:srgbClr val="000000"/>
                </a:solidFill>
                <a:ea typeface="Microsoft YaHei" pitchFamily="34"/>
                <a:cs typeface="Arial" pitchFamily="34"/>
              </a:rPr>
              <a:t>effettiva coincidenza tra il comportamento individuale del paziente e le prescrizioni terapeutiche</a:t>
            </a:r>
            <a:r>
              <a:rPr lang="it-IT" sz="2000" kern="0" dirty="0">
                <a:solidFill>
                  <a:srgbClr val="000000"/>
                </a:solidFill>
                <a:ea typeface="Microsoft YaHei" pitchFamily="34"/>
                <a:cs typeface="Arial" pitchFamily="34"/>
              </a:rPr>
              <a:t>, che si fonda sul concetto di </a:t>
            </a:r>
            <a:r>
              <a:rPr lang="it-IT" sz="2000" u="sng" kern="0" dirty="0">
                <a:solidFill>
                  <a:srgbClr val="000000"/>
                </a:solidFill>
                <a:ea typeface="Microsoft YaHei" pitchFamily="34"/>
                <a:cs typeface="Arial" pitchFamily="34"/>
              </a:rPr>
              <a:t>«alleanza terapeutica»</a:t>
            </a:r>
            <a:r>
              <a:rPr lang="it-IT" sz="2000" kern="0" dirty="0">
                <a:solidFill>
                  <a:srgbClr val="000000"/>
                </a:solidFill>
                <a:ea typeface="Microsoft YaHei" pitchFamily="34"/>
                <a:cs typeface="Arial" pitchFamily="34"/>
              </a:rPr>
              <a:t> tra paziente, medico e familiari</a:t>
            </a:r>
          </a:p>
        </p:txBody>
      </p:sp>
      <p:sp>
        <p:nvSpPr>
          <p:cNvPr id="4" name="CasellaDiTesto 3">
            <a:extLst>
              <a:ext uri="{FF2B5EF4-FFF2-40B4-BE49-F238E27FC236}">
                <a16:creationId xmlns:a16="http://schemas.microsoft.com/office/drawing/2014/main" id="{76F0205A-7FB1-994B-92EB-29D6CA465E43}"/>
              </a:ext>
            </a:extLst>
          </p:cNvPr>
          <p:cNvSpPr txBox="1"/>
          <p:nvPr/>
        </p:nvSpPr>
        <p:spPr>
          <a:xfrm>
            <a:off x="697831" y="5160069"/>
            <a:ext cx="10796337" cy="925894"/>
          </a:xfrm>
          <a:prstGeom prst="rect">
            <a:avLst/>
          </a:prstGeom>
          <a:noFill/>
        </p:spPr>
        <p:txBody>
          <a:bodyPr wrap="square" rtlCol="0">
            <a:spAutoFit/>
          </a:bodyPr>
          <a:lstStyle/>
          <a:p>
            <a:pPr algn="ctr" defTabSz="449263">
              <a:spcBef>
                <a:spcPts val="500"/>
              </a:spcBef>
              <a:buSzPct val="95000"/>
              <a:tabLst>
                <a:tab pos="0" algn="l"/>
                <a:tab pos="447671" algn="l"/>
                <a:tab pos="896934" algn="l"/>
                <a:tab pos="1346197" algn="l"/>
                <a:tab pos="1795460" algn="l"/>
                <a:tab pos="2244723" algn="l"/>
                <a:tab pos="2693986" algn="l"/>
                <a:tab pos="3143250" algn="l"/>
                <a:tab pos="3592513" algn="l"/>
                <a:tab pos="4041776" algn="l"/>
                <a:tab pos="4491039" algn="l"/>
                <a:tab pos="4940302" algn="l"/>
                <a:tab pos="5389565" algn="l"/>
                <a:tab pos="5838828" algn="l"/>
                <a:tab pos="6288091" algn="l"/>
                <a:tab pos="6737354" algn="l"/>
                <a:tab pos="7186617" algn="l"/>
                <a:tab pos="7635870" algn="l"/>
                <a:tab pos="8085133" algn="l"/>
                <a:tab pos="8534396" algn="l"/>
                <a:tab pos="8983659" algn="l"/>
              </a:tabLst>
              <a:defRPr sz="1800" b="0" i="0" u="none" strike="noStrike" kern="0" cap="none" spc="0" baseline="0">
                <a:solidFill>
                  <a:srgbClr val="000000"/>
                </a:solidFill>
                <a:uFillTx/>
              </a:defRPr>
            </a:pPr>
            <a:r>
              <a:rPr lang="it-IT" sz="1600" kern="0" dirty="0" smtClean="0">
                <a:ea typeface="Microsoft YaHei" pitchFamily="34"/>
              </a:rPr>
              <a:t> </a:t>
            </a:r>
            <a:r>
              <a:rPr lang="it-IT" sz="1600" kern="0" dirty="0">
                <a:ea typeface="Microsoft YaHei" pitchFamily="34"/>
              </a:rPr>
              <a:t>6 italiani su 10 (58.9%) che assumono una terapia antipertensiva saltano le dosi, sbagliano orario o interrompono il trattamento! </a:t>
            </a:r>
            <a:r>
              <a:rPr lang="it-IT" sz="1600" i="1" kern="0" dirty="0">
                <a:ea typeface="Microsoft YaHei" pitchFamily="34"/>
              </a:rPr>
              <a:t>(AIFA)</a:t>
            </a:r>
          </a:p>
          <a:p>
            <a:pPr algn="ctr" defTabSz="449263">
              <a:spcBef>
                <a:spcPts val="500"/>
              </a:spcBef>
              <a:tabLst>
                <a:tab pos="0" algn="l"/>
                <a:tab pos="447671" algn="l"/>
                <a:tab pos="896934" algn="l"/>
                <a:tab pos="1346197" algn="l"/>
                <a:tab pos="1795460" algn="l"/>
                <a:tab pos="2244723" algn="l"/>
                <a:tab pos="2693986" algn="l"/>
                <a:tab pos="3143250" algn="l"/>
                <a:tab pos="3592513" algn="l"/>
                <a:tab pos="4041776" algn="l"/>
                <a:tab pos="4491039" algn="l"/>
                <a:tab pos="4940302" algn="l"/>
                <a:tab pos="5389565" algn="l"/>
                <a:tab pos="5838828" algn="l"/>
                <a:tab pos="6288091" algn="l"/>
                <a:tab pos="6737354" algn="l"/>
                <a:tab pos="7186617" algn="l"/>
                <a:tab pos="7635870" algn="l"/>
                <a:tab pos="8085133" algn="l"/>
                <a:tab pos="8534396" algn="l"/>
                <a:tab pos="8983659" algn="l"/>
              </a:tabLst>
              <a:defRPr sz="1800" b="0" i="0" u="none" strike="noStrike" kern="0" cap="none" spc="0" baseline="0">
                <a:solidFill>
                  <a:srgbClr val="000000"/>
                </a:solidFill>
                <a:uFillTx/>
              </a:defRPr>
            </a:pPr>
            <a:r>
              <a:rPr lang="it-IT" sz="1600" b="1" kern="0" dirty="0">
                <a:solidFill>
                  <a:schemeClr val="tx2"/>
                </a:solidFill>
                <a:ea typeface="Microsoft YaHei" pitchFamily="34"/>
              </a:rPr>
              <a:t>➪60-65% dei pazienti ipertesi rimane fuori controllo!</a:t>
            </a:r>
          </a:p>
        </p:txBody>
      </p:sp>
    </p:spTree>
    <p:extLst>
      <p:ext uri="{BB962C8B-B14F-4D97-AF65-F5344CB8AC3E}">
        <p14:creationId xmlns:p14="http://schemas.microsoft.com/office/powerpoint/2010/main" val="604887069"/>
      </p:ext>
    </p:extLst>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631505" y="332656"/>
            <a:ext cx="9690473" cy="523220"/>
          </a:xfrm>
          <a:prstGeom prst="rect">
            <a:avLst/>
          </a:prstGeom>
          <a:solidFill>
            <a:schemeClr val="bg1"/>
          </a:solidFill>
        </p:spPr>
        <p:txBody>
          <a:bodyPr wrap="none" rtlCol="0">
            <a:spAutoFit/>
          </a:bodyPr>
          <a:lstStyle/>
          <a:p>
            <a:r>
              <a:rPr lang="it-IT" sz="2800" dirty="0"/>
              <a:t>Aderenza: uso del Percentage of Days Covered (PDC)</a:t>
            </a:r>
          </a:p>
        </p:txBody>
      </p:sp>
      <p:sp>
        <p:nvSpPr>
          <p:cNvPr id="3" name="TextBox 2"/>
          <p:cNvSpPr txBox="1"/>
          <p:nvPr/>
        </p:nvSpPr>
        <p:spPr>
          <a:xfrm>
            <a:off x="2351584" y="2062590"/>
            <a:ext cx="1545616" cy="646331"/>
          </a:xfrm>
          <a:prstGeom prst="rect">
            <a:avLst/>
          </a:prstGeom>
          <a:noFill/>
          <a:ln>
            <a:solidFill>
              <a:schemeClr val="tx1"/>
            </a:solidFill>
          </a:ln>
        </p:spPr>
        <p:txBody>
          <a:bodyPr wrap="none" rtlCol="0">
            <a:spAutoFit/>
          </a:bodyPr>
          <a:lstStyle/>
          <a:p>
            <a:r>
              <a:rPr lang="it-IT" dirty="0"/>
              <a:t>Prescrizione </a:t>
            </a:r>
          </a:p>
          <a:p>
            <a:r>
              <a:rPr lang="it-IT" dirty="0"/>
              <a:t>Per 30 giorni</a:t>
            </a:r>
          </a:p>
        </p:txBody>
      </p:sp>
      <p:sp>
        <p:nvSpPr>
          <p:cNvPr id="6" name="TextBox 5"/>
          <p:cNvSpPr txBox="1"/>
          <p:nvPr/>
        </p:nvSpPr>
        <p:spPr>
          <a:xfrm>
            <a:off x="4433620" y="2060849"/>
            <a:ext cx="1545616" cy="646331"/>
          </a:xfrm>
          <a:prstGeom prst="rect">
            <a:avLst/>
          </a:prstGeom>
          <a:noFill/>
          <a:ln>
            <a:solidFill>
              <a:schemeClr val="tx1"/>
            </a:solidFill>
          </a:ln>
        </p:spPr>
        <p:txBody>
          <a:bodyPr wrap="none" rtlCol="0">
            <a:spAutoFit/>
          </a:bodyPr>
          <a:lstStyle/>
          <a:p>
            <a:r>
              <a:rPr lang="it-IT" dirty="0"/>
              <a:t>Prescrizione </a:t>
            </a:r>
          </a:p>
          <a:p>
            <a:r>
              <a:rPr lang="it-IT" dirty="0"/>
              <a:t>Per 30 giorni</a:t>
            </a:r>
          </a:p>
        </p:txBody>
      </p:sp>
      <p:sp>
        <p:nvSpPr>
          <p:cNvPr id="7" name="TextBox 6"/>
          <p:cNvSpPr txBox="1"/>
          <p:nvPr/>
        </p:nvSpPr>
        <p:spPr>
          <a:xfrm>
            <a:off x="5945788" y="2060849"/>
            <a:ext cx="1545616" cy="646331"/>
          </a:xfrm>
          <a:prstGeom prst="rect">
            <a:avLst/>
          </a:prstGeom>
          <a:noFill/>
          <a:ln>
            <a:solidFill>
              <a:schemeClr val="tx1"/>
            </a:solidFill>
          </a:ln>
        </p:spPr>
        <p:txBody>
          <a:bodyPr wrap="none" rtlCol="0">
            <a:spAutoFit/>
          </a:bodyPr>
          <a:lstStyle/>
          <a:p>
            <a:r>
              <a:rPr lang="it-IT" dirty="0"/>
              <a:t>Prescrizione </a:t>
            </a:r>
          </a:p>
          <a:p>
            <a:r>
              <a:rPr lang="it-IT" dirty="0"/>
              <a:t>Per 30 giorni</a:t>
            </a:r>
          </a:p>
        </p:txBody>
      </p:sp>
      <p:sp>
        <p:nvSpPr>
          <p:cNvPr id="8" name="TextBox 7"/>
          <p:cNvSpPr txBox="1"/>
          <p:nvPr/>
        </p:nvSpPr>
        <p:spPr>
          <a:xfrm>
            <a:off x="8250044" y="2060849"/>
            <a:ext cx="1545616" cy="646331"/>
          </a:xfrm>
          <a:prstGeom prst="rect">
            <a:avLst/>
          </a:prstGeom>
          <a:noFill/>
          <a:ln>
            <a:solidFill>
              <a:schemeClr val="tx1"/>
            </a:solidFill>
          </a:ln>
        </p:spPr>
        <p:txBody>
          <a:bodyPr wrap="none" rtlCol="0">
            <a:spAutoFit/>
          </a:bodyPr>
          <a:lstStyle/>
          <a:p>
            <a:r>
              <a:rPr lang="it-IT" dirty="0"/>
              <a:t>Prescrizione </a:t>
            </a:r>
          </a:p>
          <a:p>
            <a:r>
              <a:rPr lang="it-IT" dirty="0"/>
              <a:t>Per 30 giorni</a:t>
            </a:r>
          </a:p>
        </p:txBody>
      </p:sp>
      <p:cxnSp>
        <p:nvCxnSpPr>
          <p:cNvPr id="9" name="Straight Connector 8"/>
          <p:cNvCxnSpPr/>
          <p:nvPr/>
        </p:nvCxnSpPr>
        <p:spPr>
          <a:xfrm>
            <a:off x="2351585" y="2924944"/>
            <a:ext cx="7401097" cy="0"/>
          </a:xfrm>
          <a:prstGeom prst="line">
            <a:avLst/>
          </a:prstGeom>
          <a:ln w="38100">
            <a:solidFill>
              <a:schemeClr val="tx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9446598" y="3140968"/>
            <a:ext cx="938077" cy="369332"/>
          </a:xfrm>
          <a:prstGeom prst="rect">
            <a:avLst/>
          </a:prstGeom>
          <a:noFill/>
        </p:spPr>
        <p:txBody>
          <a:bodyPr wrap="none" rtlCol="0">
            <a:spAutoFit/>
          </a:bodyPr>
          <a:lstStyle/>
          <a:p>
            <a:r>
              <a:rPr lang="it-IT" dirty="0"/>
              <a:t>tempo</a:t>
            </a:r>
          </a:p>
        </p:txBody>
      </p:sp>
      <p:cxnSp>
        <p:nvCxnSpPr>
          <p:cNvPr id="12" name="Straight Connector 11"/>
          <p:cNvCxnSpPr/>
          <p:nvPr/>
        </p:nvCxnSpPr>
        <p:spPr>
          <a:xfrm>
            <a:off x="7478718" y="1844824"/>
            <a:ext cx="771327" cy="0"/>
          </a:xfrm>
          <a:prstGeom prst="line">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7478718" y="1403484"/>
            <a:ext cx="688009" cy="369332"/>
          </a:xfrm>
          <a:prstGeom prst="rect">
            <a:avLst/>
          </a:prstGeom>
          <a:noFill/>
        </p:spPr>
        <p:txBody>
          <a:bodyPr wrap="none" rtlCol="0">
            <a:spAutoFit/>
          </a:bodyPr>
          <a:lstStyle/>
          <a:p>
            <a:r>
              <a:rPr lang="it-IT" dirty="0"/>
              <a:t>6 gg</a:t>
            </a:r>
          </a:p>
        </p:txBody>
      </p:sp>
      <p:sp>
        <p:nvSpPr>
          <p:cNvPr id="15" name="TextBox 14"/>
          <p:cNvSpPr txBox="1"/>
          <p:nvPr/>
        </p:nvSpPr>
        <p:spPr>
          <a:xfrm>
            <a:off x="3863753" y="1412776"/>
            <a:ext cx="688009" cy="369332"/>
          </a:xfrm>
          <a:prstGeom prst="rect">
            <a:avLst/>
          </a:prstGeom>
          <a:noFill/>
        </p:spPr>
        <p:txBody>
          <a:bodyPr wrap="none" rtlCol="0">
            <a:spAutoFit/>
          </a:bodyPr>
          <a:lstStyle/>
          <a:p>
            <a:r>
              <a:rPr lang="it-IT" dirty="0"/>
              <a:t>3 gg</a:t>
            </a:r>
          </a:p>
        </p:txBody>
      </p:sp>
      <p:cxnSp>
        <p:nvCxnSpPr>
          <p:cNvPr id="16" name="Straight Connector 15"/>
          <p:cNvCxnSpPr/>
          <p:nvPr/>
        </p:nvCxnSpPr>
        <p:spPr>
          <a:xfrm>
            <a:off x="3863752" y="1844824"/>
            <a:ext cx="569868" cy="0"/>
          </a:xfrm>
          <a:prstGeom prst="line">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2351584" y="3325634"/>
            <a:ext cx="3024336" cy="0"/>
          </a:xfrm>
          <a:prstGeom prst="line">
            <a:avLst/>
          </a:prstGeom>
          <a:ln w="285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2372921" y="3501008"/>
            <a:ext cx="4610558" cy="369332"/>
          </a:xfrm>
          <a:prstGeom prst="rect">
            <a:avLst/>
          </a:prstGeom>
          <a:noFill/>
        </p:spPr>
        <p:txBody>
          <a:bodyPr wrap="none" rtlCol="0">
            <a:spAutoFit/>
          </a:bodyPr>
          <a:lstStyle/>
          <a:p>
            <a:r>
              <a:rPr lang="it-IT" dirty="0"/>
              <a:t>PDC durante i primi 60 giorni:57/60=0.95</a:t>
            </a:r>
          </a:p>
        </p:txBody>
      </p:sp>
      <p:sp>
        <p:nvSpPr>
          <p:cNvPr id="17" name="TextBox 16"/>
          <p:cNvSpPr txBox="1"/>
          <p:nvPr/>
        </p:nvSpPr>
        <p:spPr>
          <a:xfrm>
            <a:off x="2351584" y="4067780"/>
            <a:ext cx="8996374" cy="923330"/>
          </a:xfrm>
          <a:prstGeom prst="rect">
            <a:avLst/>
          </a:prstGeom>
          <a:noFill/>
        </p:spPr>
        <p:txBody>
          <a:bodyPr wrap="none" rtlCol="0">
            <a:spAutoFit/>
          </a:bodyPr>
          <a:lstStyle/>
          <a:p>
            <a:r>
              <a:rPr lang="it-IT" dirty="0"/>
              <a:t>Durante il periodo di 60 giorni il paziente ha avuto i primi 30 giorni coperti </a:t>
            </a:r>
          </a:p>
          <a:p>
            <a:r>
              <a:rPr lang="it-IT" dirty="0"/>
              <a:t>dalla prima prescrizione, poi ha avuto un gap di 3 giorni, e infine ha avuto tutti </a:t>
            </a:r>
          </a:p>
          <a:p>
            <a:r>
              <a:rPr lang="it-IT" dirty="0"/>
              <a:t>i restanti </a:t>
            </a:r>
            <a:r>
              <a:rPr lang="it-IT" dirty="0" err="1" smtClean="0"/>
              <a:t>giorn</a:t>
            </a:r>
            <a:r>
              <a:rPr lang="it-IT" dirty="0" smtClean="0"/>
              <a:t> </a:t>
            </a:r>
            <a:r>
              <a:rPr lang="it-IT" dirty="0"/>
              <a:t>coperti dalla seconda prescrizione</a:t>
            </a:r>
          </a:p>
        </p:txBody>
      </p:sp>
    </p:spTree>
    <p:extLst>
      <p:ext uri="{BB962C8B-B14F-4D97-AF65-F5344CB8AC3E}">
        <p14:creationId xmlns:p14="http://schemas.microsoft.com/office/powerpoint/2010/main" val="23361611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1" name="Titolo 14">
            <a:extLst>
              <a:ext uri="{FF2B5EF4-FFF2-40B4-BE49-F238E27FC236}">
                <a16:creationId xmlns:a16="http://schemas.microsoft.com/office/drawing/2014/main" id="{50394F7F-6903-734A-84DE-C7203F706AB0}"/>
              </a:ext>
            </a:extLst>
          </p:cNvPr>
          <p:cNvSpPr>
            <a:spLocks noChangeArrowheads="1"/>
          </p:cNvSpPr>
          <p:nvPr/>
        </p:nvSpPr>
        <p:spPr bwMode="auto">
          <a:xfrm>
            <a:off x="4588042" y="274022"/>
            <a:ext cx="6769769" cy="1074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it-IT" altLang="it-IT" sz="2000" dirty="0">
                <a:solidFill>
                  <a:srgbClr val="000000"/>
                </a:solidFill>
                <a:latin typeface="+mn-lt"/>
                <a:ea typeface="ＭＳ Ｐゴシック" panose="020B0600070205080204" pitchFamily="34" charset="-128"/>
                <a:cs typeface="Arial" panose="020B0604020202020204" pitchFamily="34" charset="0"/>
              </a:rPr>
              <a:t>		ADERENZA AL TRATTAMENTO </a:t>
            </a:r>
            <a:endParaRPr lang="it-IT" altLang="it-IT" sz="2400" dirty="0">
              <a:solidFill>
                <a:srgbClr val="000000"/>
              </a:solidFill>
              <a:latin typeface="+mn-lt"/>
              <a:ea typeface="ＭＳ Ｐゴシック" panose="020B0600070205080204" pitchFamily="34" charset="-128"/>
              <a:cs typeface="Arial" panose="020B0604020202020204" pitchFamily="34" charset="0"/>
            </a:endParaRPr>
          </a:p>
          <a:p>
            <a:pPr algn="r" eaLnBrk="1" hangingPunct="1"/>
            <a:r>
              <a:rPr lang="it-IT" altLang="it-IT" sz="2400" dirty="0">
                <a:solidFill>
                  <a:srgbClr val="000000"/>
                </a:solidFill>
                <a:latin typeface="+mn-lt"/>
                <a:ea typeface="ＭＳ Ｐゴシック" panose="020B0600070205080204" pitchFamily="34" charset="-128"/>
                <a:cs typeface="Arial" panose="020B0604020202020204" pitchFamily="34" charset="0"/>
              </a:rPr>
              <a:t>LA DISPONIBILITÀ DI EVIDENZE SCIENTIFICHE E L’ATTENZIONE SULL’ARGOMENTO</a:t>
            </a:r>
          </a:p>
        </p:txBody>
      </p:sp>
      <p:sp>
        <p:nvSpPr>
          <p:cNvPr id="107522" name="Rectangle 109">
            <a:extLst>
              <a:ext uri="{FF2B5EF4-FFF2-40B4-BE49-F238E27FC236}">
                <a16:creationId xmlns:a16="http://schemas.microsoft.com/office/drawing/2014/main" id="{21D2F131-DB07-794F-9EF7-518ED60FDF55}"/>
              </a:ext>
            </a:extLst>
          </p:cNvPr>
          <p:cNvSpPr>
            <a:spLocks noChangeArrowheads="1"/>
          </p:cNvSpPr>
          <p:nvPr/>
        </p:nvSpPr>
        <p:spPr bwMode="auto">
          <a:xfrm>
            <a:off x="6657474" y="6310229"/>
            <a:ext cx="539014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r"/>
            <a:r>
              <a:rPr lang="it-IT" altLang="it-IT" sz="1200" dirty="0">
                <a:solidFill>
                  <a:schemeClr val="tx2"/>
                </a:solidFill>
                <a:latin typeface="+mn-lt"/>
                <a:ea typeface="ＭＳ Ｐゴシック" panose="020B0600070205080204" pitchFamily="34" charset="-128"/>
                <a:cs typeface="Arial" panose="020B0604020202020204" pitchFamily="34" charset="0"/>
              </a:rPr>
              <a:t>Fonte: </a:t>
            </a:r>
            <a:r>
              <a:rPr lang="it-IT" altLang="it-IT" sz="1200" i="1" dirty="0">
                <a:solidFill>
                  <a:schemeClr val="tx2"/>
                </a:solidFill>
                <a:latin typeface="+mn-lt"/>
                <a:ea typeface="ＭＳ Ｐゴシック" panose="020B0600070205080204" pitchFamily="34" charset="-128"/>
                <a:cs typeface="Arial" panose="020B0604020202020204" pitchFamily="34" charset="0"/>
              </a:rPr>
              <a:t>L’uso dei farmaci in Italia. Rapporto nazionale, anno </a:t>
            </a:r>
            <a:r>
              <a:rPr lang="is-IS" altLang="it-IT" sz="1200" i="1" dirty="0">
                <a:solidFill>
                  <a:schemeClr val="tx2"/>
                </a:solidFill>
                <a:latin typeface="+mn-lt"/>
                <a:ea typeface="ＭＳ Ｐゴシック" panose="020B0600070205080204" pitchFamily="34" charset="-128"/>
                <a:cs typeface="Arial" panose="020B0604020202020204" pitchFamily="34" charset="0"/>
              </a:rPr>
              <a:t>2015</a:t>
            </a:r>
            <a:r>
              <a:rPr lang="it-IT" altLang="it-IT" sz="1200" i="1" dirty="0">
                <a:solidFill>
                  <a:schemeClr val="tx2"/>
                </a:solidFill>
                <a:latin typeface="+mn-lt"/>
                <a:ea typeface="ＭＳ Ｐゴシック" panose="020B0600070205080204" pitchFamily="34" charset="-128"/>
                <a:cs typeface="Arial" panose="020B0604020202020204" pitchFamily="34" charset="0"/>
              </a:rPr>
              <a:t>. </a:t>
            </a:r>
          </a:p>
          <a:p>
            <a:pPr algn="r"/>
            <a:r>
              <a:rPr lang="it-IT" altLang="it-IT" sz="1200" i="1" dirty="0">
                <a:solidFill>
                  <a:schemeClr val="tx2"/>
                </a:solidFill>
                <a:latin typeface="+mn-lt"/>
                <a:ea typeface="ＭＳ Ｐゴシック" panose="020B0600070205080204" pitchFamily="34" charset="-128"/>
                <a:cs typeface="Arial" panose="020B0604020202020204" pitchFamily="34" charset="0"/>
              </a:rPr>
              <a:t>In: Profili di utilizzazione dei farmaci e di aderenza al trattamento.</a:t>
            </a:r>
          </a:p>
        </p:txBody>
      </p:sp>
      <p:pic>
        <p:nvPicPr>
          <p:cNvPr id="107523" name="Immagine 4">
            <a:extLst>
              <a:ext uri="{FF2B5EF4-FFF2-40B4-BE49-F238E27FC236}">
                <a16:creationId xmlns:a16="http://schemas.microsoft.com/office/drawing/2014/main" id="{B66175B9-45F9-8947-8C81-D2134D816B61}"/>
              </a:ext>
            </a:extLst>
          </p:cNvPr>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2510130" y="1485466"/>
            <a:ext cx="8294688" cy="4687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620305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3" name="Titolo 14">
            <a:extLst>
              <a:ext uri="{FF2B5EF4-FFF2-40B4-BE49-F238E27FC236}">
                <a16:creationId xmlns:a16="http://schemas.microsoft.com/office/drawing/2014/main" id="{60B176A4-F6AF-CC47-B96F-BB8796259C59}"/>
              </a:ext>
            </a:extLst>
          </p:cNvPr>
          <p:cNvSpPr>
            <a:spLocks noChangeArrowheads="1"/>
          </p:cNvSpPr>
          <p:nvPr/>
        </p:nvSpPr>
        <p:spPr bwMode="auto">
          <a:xfrm>
            <a:off x="5100888" y="254084"/>
            <a:ext cx="6674017" cy="1173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it-IT" altLang="it-IT" sz="2000" dirty="0">
                <a:solidFill>
                  <a:srgbClr val="000000"/>
                </a:solidFill>
                <a:latin typeface="+mj-lt"/>
                <a:ea typeface="ＭＳ Ｐゴシック" panose="020B0600070205080204" pitchFamily="34" charset="-128"/>
                <a:cs typeface="Arial" panose="020B0604020202020204" pitchFamily="34" charset="0"/>
              </a:rPr>
              <a:t>					ADERENZA AL TRATTAMENTO</a:t>
            </a:r>
          </a:p>
          <a:p>
            <a:pPr eaLnBrk="1" hangingPunct="1"/>
            <a:r>
              <a:rPr lang="it-IT" altLang="it-IT" sz="2400" dirty="0">
                <a:solidFill>
                  <a:srgbClr val="000000"/>
                </a:solidFill>
                <a:latin typeface="+mj-lt"/>
                <a:ea typeface="ＭＳ Ｐゴシック" panose="020B0600070205080204" pitchFamily="34" charset="-128"/>
                <a:cs typeface="Arial" panose="020B0604020202020204" pitchFamily="34" charset="0"/>
              </a:rPr>
              <a:t>LA CORRELAZIONE CON GLI ESITI CLINICI ED IL BILANCIO RISPETTO AI </a:t>
            </a:r>
            <a:r>
              <a:rPr lang="it-IT" altLang="it-IT" sz="2400" dirty="0" smtClean="0">
                <a:solidFill>
                  <a:srgbClr val="000000"/>
                </a:solidFill>
                <a:latin typeface="+mj-lt"/>
                <a:ea typeface="ＭＳ Ｐゴシック" panose="020B0600070205080204" pitchFamily="34" charset="-128"/>
                <a:cs typeface="Arial" panose="020B0604020202020204" pitchFamily="34" charset="0"/>
              </a:rPr>
              <a:t>COSTI</a:t>
            </a:r>
            <a:endParaRPr lang="it-IT" altLang="it-IT" sz="2400" dirty="0">
              <a:solidFill>
                <a:srgbClr val="000000"/>
              </a:solidFill>
              <a:latin typeface="+mj-lt"/>
              <a:ea typeface="ＭＳ Ｐゴシック" panose="020B0600070205080204" pitchFamily="34" charset="-128"/>
              <a:cs typeface="Arial" panose="020B0604020202020204" pitchFamily="34" charset="0"/>
            </a:endParaRPr>
          </a:p>
        </p:txBody>
      </p:sp>
      <p:pic>
        <p:nvPicPr>
          <p:cNvPr id="110594" name="Immagine 28">
            <a:extLst>
              <a:ext uri="{FF2B5EF4-FFF2-40B4-BE49-F238E27FC236}">
                <a16:creationId xmlns:a16="http://schemas.microsoft.com/office/drawing/2014/main" id="{73CAB66C-10F0-1B41-91B1-D1A3B2699AF7}"/>
              </a:ext>
            </a:extLst>
          </p:cNvPr>
          <p:cNvPicPr>
            <a:picLocks noChangeAspect="1" noChangeArrowheads="1"/>
          </p:cNvPicPr>
          <p:nvPr/>
        </p:nvPicPr>
        <p:blipFill rotWithShape="1">
          <a:blip r:embed="rId2" cstate="print">
            <a:extLst>
              <a:ext uri="{BEBA8EAE-BF5A-486C-A8C5-ECC9F3942E4B}">
                <a14:imgProps xmlns:a14="http://schemas.microsoft.com/office/drawing/2010/main">
                  <a14:imgLayer r:embed="rId3">
                    <a14:imgEffect>
                      <a14:saturation sat="375000"/>
                    </a14:imgEffect>
                    <a14:imgEffect>
                      <a14:brightnessContrast bright="40000"/>
                    </a14:imgEffect>
                  </a14:imgLayer>
                </a14:imgProps>
              </a:ext>
              <a:ext uri="{28A0092B-C50C-407E-A947-70E740481C1C}">
                <a14:useLocalDpi xmlns:a14="http://schemas.microsoft.com/office/drawing/2010/main"/>
              </a:ext>
            </a:extLst>
          </a:blip>
          <a:srcRect/>
          <a:stretch/>
        </p:blipFill>
        <p:spPr bwMode="auto">
          <a:xfrm>
            <a:off x="1589417" y="1568659"/>
            <a:ext cx="9013166" cy="4046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Immagine 28">
            <a:extLst>
              <a:ext uri="{FF2B5EF4-FFF2-40B4-BE49-F238E27FC236}">
                <a16:creationId xmlns:a16="http://schemas.microsoft.com/office/drawing/2014/main" id="{99DD2547-4F2D-4E4D-B63A-394B18FED80E}"/>
              </a:ext>
            </a:extLst>
          </p:cNvPr>
          <p:cNvPicPr>
            <a:picLocks noChangeAspect="1" noChangeArrowheads="1"/>
          </p:cNvPicPr>
          <p:nvPr/>
        </p:nvPicPr>
        <p:blipFill rotWithShape="1">
          <a:blip r:embed="rId4" cstate="print">
            <a:extLst>
              <a:ext uri="{BEBA8EAE-BF5A-486C-A8C5-ECC9F3942E4B}">
                <a14:imgProps xmlns:a14="http://schemas.microsoft.com/office/drawing/2010/main">
                  <a14:imgLayer r:embed="rId5">
                    <a14:imgEffect>
                      <a14:saturation sat="375000"/>
                    </a14:imgEffect>
                  </a14:imgLayer>
                </a14:imgProps>
              </a:ext>
              <a:ext uri="{28A0092B-C50C-407E-A947-70E740481C1C}">
                <a14:useLocalDpi xmlns:a14="http://schemas.microsoft.com/office/drawing/2010/main"/>
              </a:ext>
            </a:extLst>
          </a:blip>
          <a:srcRect/>
          <a:stretch/>
        </p:blipFill>
        <p:spPr bwMode="auto">
          <a:xfrm>
            <a:off x="6946232" y="6090568"/>
            <a:ext cx="5119437" cy="513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657454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1" name="Titolo 1">
            <a:extLst>
              <a:ext uri="{FF2B5EF4-FFF2-40B4-BE49-F238E27FC236}">
                <a16:creationId xmlns:a16="http://schemas.microsoft.com/office/drawing/2014/main" id="{D82A7679-1FCC-6E4D-96F3-53F1AF1E242D}"/>
              </a:ext>
            </a:extLst>
          </p:cNvPr>
          <p:cNvSpPr txBox="1">
            <a:spLocks noGrp="1" noChangeArrowheads="1"/>
          </p:cNvSpPr>
          <p:nvPr>
            <p:ph type="title"/>
          </p:nvPr>
        </p:nvSpPr>
        <p:spPr>
          <a:xfrm>
            <a:off x="4071938" y="299955"/>
            <a:ext cx="8120062" cy="960438"/>
          </a:xfrm>
        </p:spPr>
        <p:txBody>
          <a:bodyPr anchorCtr="1"/>
          <a:lstStyle/>
          <a:p>
            <a:pPr algn="ctr" eaLnBrk="1" hangingPunct="1">
              <a:defRPr/>
            </a:pPr>
            <a:r>
              <a:rPr lang="it-IT" altLang="it-IT" sz="3200" dirty="0"/>
              <a:t> la </a:t>
            </a:r>
            <a:r>
              <a:rPr altLang="it-IT" sz="3200" b="1" dirty="0"/>
              <a:t>NON</a:t>
            </a:r>
            <a:r>
              <a:rPr altLang="it-IT" sz="3200" dirty="0"/>
              <a:t> ADERENZA</a:t>
            </a:r>
            <a:r>
              <a:rPr lang="it-IT" altLang="it-IT" sz="3200" dirty="0"/>
              <a:t> terapeutica </a:t>
            </a:r>
            <a:endParaRPr altLang="it-IT" dirty="0"/>
          </a:p>
        </p:txBody>
      </p:sp>
      <p:sp>
        <p:nvSpPr>
          <p:cNvPr id="3" name="Segnaposto contenuto 2">
            <a:extLst>
              <a:ext uri="{FF2B5EF4-FFF2-40B4-BE49-F238E27FC236}">
                <a16:creationId xmlns:a16="http://schemas.microsoft.com/office/drawing/2014/main" id="{2EF2EA9A-9E7B-674C-96E6-5328697035D9}"/>
              </a:ext>
            </a:extLst>
          </p:cNvPr>
          <p:cNvSpPr txBox="1">
            <a:spLocks noGrp="1"/>
          </p:cNvSpPr>
          <p:nvPr>
            <p:ph idx="1"/>
          </p:nvPr>
        </p:nvSpPr>
        <p:spPr>
          <a:xfrm>
            <a:off x="1341912" y="1692943"/>
            <a:ext cx="10652166" cy="4464050"/>
          </a:xfrm>
        </p:spPr>
        <p:txBody>
          <a:bodyPr rtlCol="0">
            <a:noAutofit/>
          </a:bodyPr>
          <a:lstStyle/>
          <a:p>
            <a:pPr marL="0" indent="0">
              <a:buNone/>
              <a:defRPr/>
            </a:pPr>
            <a:r>
              <a:rPr lang="it-IT" dirty="0"/>
              <a:t>È </a:t>
            </a:r>
            <a:r>
              <a:rPr dirty="0"/>
              <a:t>un </a:t>
            </a:r>
            <a:r>
              <a:rPr dirty="0" err="1"/>
              <a:t>importante</a:t>
            </a:r>
            <a:r>
              <a:rPr dirty="0"/>
              <a:t> </a:t>
            </a:r>
            <a:r>
              <a:rPr dirty="0" err="1"/>
              <a:t>aspetto</a:t>
            </a:r>
            <a:r>
              <a:rPr dirty="0"/>
              <a:t> di salute </a:t>
            </a:r>
            <a:r>
              <a:rPr dirty="0" err="1"/>
              <a:t>pubblica</a:t>
            </a:r>
            <a:r>
              <a:rPr dirty="0"/>
              <a:t>:</a:t>
            </a:r>
          </a:p>
          <a:p>
            <a:pPr>
              <a:buFont typeface="Wingdings" pitchFamily="2" charset="2"/>
              <a:buChar char="q"/>
              <a:defRPr/>
            </a:pPr>
            <a:r>
              <a:rPr lang="it-IT" b="1" dirty="0" smtClean="0"/>
              <a:t> </a:t>
            </a:r>
            <a:r>
              <a:rPr b="1" dirty="0" smtClean="0"/>
              <a:t>Influenza </a:t>
            </a:r>
            <a:r>
              <a:rPr b="1" dirty="0" err="1"/>
              <a:t>negativamente</a:t>
            </a:r>
            <a:r>
              <a:rPr b="1" dirty="0"/>
              <a:t> </a:t>
            </a:r>
            <a:r>
              <a:rPr b="1" dirty="0" err="1"/>
              <a:t>gli</a:t>
            </a:r>
            <a:r>
              <a:rPr b="1" dirty="0"/>
              <a:t> outcomes </a:t>
            </a:r>
            <a:r>
              <a:rPr b="1" dirty="0" err="1"/>
              <a:t>terapeutici</a:t>
            </a:r>
            <a:endParaRPr b="1" dirty="0"/>
          </a:p>
          <a:p>
            <a:pPr>
              <a:buFont typeface="Wingdings" pitchFamily="2" charset="2"/>
              <a:buChar char="q"/>
              <a:defRPr/>
            </a:pPr>
            <a:r>
              <a:rPr lang="it-IT" dirty="0" smtClean="0"/>
              <a:t> </a:t>
            </a:r>
            <a:r>
              <a:rPr dirty="0" smtClean="0"/>
              <a:t>Grava </a:t>
            </a:r>
            <a:r>
              <a:rPr dirty="0"/>
              <a:t>in modo </a:t>
            </a:r>
            <a:r>
              <a:rPr dirty="0" err="1"/>
              <a:t>significativo</a:t>
            </a:r>
            <a:r>
              <a:rPr dirty="0"/>
              <a:t> sui </a:t>
            </a:r>
            <a:r>
              <a:rPr dirty="0" err="1"/>
              <a:t>costi</a:t>
            </a:r>
            <a:r>
              <a:rPr dirty="0"/>
              <a:t> </a:t>
            </a:r>
            <a:r>
              <a:rPr dirty="0" err="1"/>
              <a:t>dell’assistenza</a:t>
            </a:r>
            <a:r>
              <a:rPr dirty="0"/>
              <a:t> sanitaria </a:t>
            </a:r>
            <a:r>
              <a:rPr dirty="0" err="1"/>
              <a:t>pubblica</a:t>
            </a:r>
            <a:r>
              <a:rPr dirty="0"/>
              <a:t> </a:t>
            </a:r>
            <a:r>
              <a:rPr lang="it-IT" dirty="0" smtClean="0"/>
              <a:t> </a:t>
            </a:r>
            <a:r>
              <a:rPr dirty="0" err="1" smtClean="0"/>
              <a:t>attraverso</a:t>
            </a:r>
            <a:r>
              <a:rPr dirty="0"/>
              <a:t>:</a:t>
            </a:r>
          </a:p>
          <a:p>
            <a:pPr lvl="1">
              <a:buFont typeface="Courier New" panose="02070309020205020404" pitchFamily="49" charset="0"/>
              <a:buChar char="o"/>
              <a:defRPr/>
            </a:pPr>
            <a:r>
              <a:rPr dirty="0" err="1"/>
              <a:t>Aggravamento</a:t>
            </a:r>
            <a:r>
              <a:rPr dirty="0"/>
              <a:t> </a:t>
            </a:r>
            <a:r>
              <a:rPr dirty="0" err="1"/>
              <a:t>dello</a:t>
            </a:r>
            <a:r>
              <a:rPr dirty="0"/>
              <a:t> </a:t>
            </a:r>
            <a:r>
              <a:rPr dirty="0" err="1"/>
              <a:t>stato</a:t>
            </a:r>
            <a:r>
              <a:rPr dirty="0"/>
              <a:t> di salute del </a:t>
            </a:r>
            <a:r>
              <a:rPr dirty="0" err="1"/>
              <a:t>paziente</a:t>
            </a:r>
            <a:endParaRPr dirty="0"/>
          </a:p>
          <a:p>
            <a:pPr lvl="1">
              <a:buFont typeface="Courier New" panose="02070309020205020404" pitchFamily="49" charset="0"/>
              <a:buChar char="o"/>
              <a:defRPr/>
            </a:pPr>
            <a:r>
              <a:rPr dirty="0" err="1"/>
              <a:t>Fallimento</a:t>
            </a:r>
            <a:r>
              <a:rPr dirty="0"/>
              <a:t> </a:t>
            </a:r>
            <a:r>
              <a:rPr dirty="0" err="1"/>
              <a:t>della</a:t>
            </a:r>
            <a:r>
              <a:rPr dirty="0"/>
              <a:t> </a:t>
            </a:r>
            <a:r>
              <a:rPr dirty="0" err="1"/>
              <a:t>terapia</a:t>
            </a:r>
            <a:endParaRPr dirty="0"/>
          </a:p>
          <a:p>
            <a:pPr lvl="1">
              <a:buFont typeface="Courier New" panose="02070309020205020404" pitchFamily="49" charset="0"/>
              <a:buChar char="o"/>
              <a:defRPr/>
            </a:pPr>
            <a:r>
              <a:rPr dirty="0" err="1"/>
              <a:t>Maggior</a:t>
            </a:r>
            <a:r>
              <a:rPr dirty="0"/>
              <a:t> </a:t>
            </a:r>
            <a:r>
              <a:rPr dirty="0" err="1"/>
              <a:t>costo</a:t>
            </a:r>
            <a:r>
              <a:rPr dirty="0"/>
              <a:t> </a:t>
            </a:r>
            <a:r>
              <a:rPr dirty="0" err="1"/>
              <a:t>della</a:t>
            </a:r>
            <a:r>
              <a:rPr dirty="0"/>
              <a:t> </a:t>
            </a:r>
            <a:r>
              <a:rPr dirty="0" err="1"/>
              <a:t>terapia</a:t>
            </a:r>
            <a:r>
              <a:rPr dirty="0"/>
              <a:t> per </a:t>
            </a:r>
            <a:r>
              <a:rPr dirty="0" err="1"/>
              <a:t>l’aggravamento</a:t>
            </a:r>
            <a:r>
              <a:rPr dirty="0"/>
              <a:t> </a:t>
            </a:r>
            <a:r>
              <a:rPr dirty="0" err="1"/>
              <a:t>della</a:t>
            </a:r>
            <a:r>
              <a:rPr dirty="0"/>
              <a:t> </a:t>
            </a:r>
            <a:r>
              <a:rPr dirty="0" err="1"/>
              <a:t>condizione</a:t>
            </a:r>
            <a:r>
              <a:rPr dirty="0"/>
              <a:t> </a:t>
            </a:r>
            <a:r>
              <a:rPr dirty="0" err="1"/>
              <a:t>cronica</a:t>
            </a:r>
            <a:r>
              <a:rPr dirty="0"/>
              <a:t> ed </a:t>
            </a:r>
            <a:r>
              <a:rPr dirty="0" err="1"/>
              <a:t>eventuale</a:t>
            </a:r>
            <a:r>
              <a:rPr dirty="0"/>
              <a:t> (</a:t>
            </a:r>
            <a:r>
              <a:rPr dirty="0" err="1"/>
              <a:t>ri</a:t>
            </a:r>
            <a:r>
              <a:rPr dirty="0"/>
              <a:t>)</a:t>
            </a:r>
            <a:r>
              <a:rPr dirty="0" err="1"/>
              <a:t>acutizzazione</a:t>
            </a:r>
            <a:r>
              <a:rPr dirty="0"/>
              <a:t> di </a:t>
            </a:r>
            <a:r>
              <a:rPr dirty="0" err="1"/>
              <a:t>comorbidità</a:t>
            </a:r>
            <a:endParaRPr dirty="0"/>
          </a:p>
          <a:p>
            <a:pPr lvl="1">
              <a:buFont typeface="Courier New" panose="02070309020205020404" pitchFamily="49" charset="0"/>
              <a:buChar char="o"/>
              <a:defRPr/>
            </a:pPr>
            <a:r>
              <a:rPr b="1" dirty="0" err="1"/>
              <a:t>Aumento</a:t>
            </a:r>
            <a:r>
              <a:rPr b="1" dirty="0"/>
              <a:t> </a:t>
            </a:r>
            <a:r>
              <a:rPr b="1" dirty="0" err="1"/>
              <a:t>della</a:t>
            </a:r>
            <a:r>
              <a:rPr b="1" dirty="0"/>
              <a:t> </a:t>
            </a:r>
            <a:r>
              <a:rPr b="1" dirty="0" err="1"/>
              <a:t>frequenza</a:t>
            </a:r>
            <a:r>
              <a:rPr b="1" dirty="0"/>
              <a:t> </a:t>
            </a:r>
            <a:r>
              <a:rPr b="1" dirty="0" err="1"/>
              <a:t>dei</a:t>
            </a:r>
            <a:r>
              <a:rPr b="1" dirty="0"/>
              <a:t> </a:t>
            </a:r>
            <a:r>
              <a:rPr b="1" dirty="0" err="1"/>
              <a:t>ricoveri</a:t>
            </a:r>
            <a:r>
              <a:rPr b="1" dirty="0"/>
              <a:t> </a:t>
            </a:r>
            <a:r>
              <a:rPr b="1" dirty="0" err="1"/>
              <a:t>ospedalieri</a:t>
            </a:r>
            <a:endParaRPr b="1" dirty="0"/>
          </a:p>
          <a:p>
            <a:pPr lvl="1">
              <a:buFont typeface="Courier New" panose="02070309020205020404" pitchFamily="49" charset="0"/>
              <a:buChar char="o"/>
              <a:defRPr/>
            </a:pPr>
            <a:r>
              <a:rPr b="1" dirty="0" err="1"/>
              <a:t>Necessità</a:t>
            </a:r>
            <a:r>
              <a:rPr b="1" dirty="0"/>
              <a:t> di </a:t>
            </a:r>
            <a:r>
              <a:rPr b="1" dirty="0" err="1"/>
              <a:t>numero</a:t>
            </a:r>
            <a:r>
              <a:rPr b="1" dirty="0"/>
              <a:t> </a:t>
            </a:r>
            <a:r>
              <a:rPr b="1" dirty="0" err="1"/>
              <a:t>maggiore</a:t>
            </a:r>
            <a:r>
              <a:rPr b="1" dirty="0"/>
              <a:t> di </a:t>
            </a:r>
            <a:r>
              <a:rPr b="1" dirty="0" err="1"/>
              <a:t>visite</a:t>
            </a:r>
            <a:r>
              <a:rPr b="1" dirty="0"/>
              <a:t> </a:t>
            </a:r>
            <a:r>
              <a:rPr b="1" dirty="0" err="1"/>
              <a:t>specialistiche</a:t>
            </a:r>
            <a:endParaRPr sz="1800" b="1" dirty="0"/>
          </a:p>
        </p:txBody>
      </p:sp>
    </p:spTree>
    <p:extLst>
      <p:ext uri="{BB962C8B-B14F-4D97-AF65-F5344CB8AC3E}">
        <p14:creationId xmlns:p14="http://schemas.microsoft.com/office/powerpoint/2010/main" val="3097883895"/>
      </p:ext>
    </p:extLst>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CasellaDiTesto 2">
            <a:extLst>
              <a:ext uri="{FF2B5EF4-FFF2-40B4-BE49-F238E27FC236}">
                <a16:creationId xmlns:a16="http://schemas.microsoft.com/office/drawing/2014/main" id="{E7EBD565-F12C-734A-94E9-231162ED15B8}"/>
              </a:ext>
            </a:extLst>
          </p:cNvPr>
          <p:cNvSpPr txBox="1">
            <a:spLocks noChangeArrowheads="1"/>
          </p:cNvSpPr>
          <p:nvPr/>
        </p:nvSpPr>
        <p:spPr bwMode="auto">
          <a:xfrm>
            <a:off x="7886700" y="1619642"/>
            <a:ext cx="3522845" cy="2462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r>
              <a:rPr lang="it-IT" altLang="it-IT" sz="1600" dirty="0">
                <a:latin typeface="+mn-lt"/>
              </a:rPr>
              <a:t>In questo studio, vengono correlati gli effetti della non aderenza ai farmaci ai vari </a:t>
            </a:r>
            <a:r>
              <a:rPr lang="it-IT" altLang="it-IT" sz="1600" dirty="0" err="1">
                <a:latin typeface="+mn-lt"/>
              </a:rPr>
              <a:t>outcome</a:t>
            </a:r>
            <a:endParaRPr lang="it-IT" altLang="it-IT" sz="1600" dirty="0">
              <a:latin typeface="+mn-lt"/>
            </a:endParaRPr>
          </a:p>
          <a:p>
            <a:pPr algn="ctr" eaLnBrk="1"/>
            <a:r>
              <a:rPr lang="it-IT" altLang="it-IT" dirty="0">
                <a:latin typeface="+mn-lt"/>
              </a:rPr>
              <a:t>➜ la </a:t>
            </a:r>
            <a:r>
              <a:rPr lang="it-IT" altLang="it-IT" b="1" dirty="0">
                <a:latin typeface="+mn-lt"/>
              </a:rPr>
              <a:t>non aderenza è associata ad un aumento statisticamente significativo della ospedalizzazione e della mortalità.</a:t>
            </a:r>
          </a:p>
        </p:txBody>
      </p:sp>
      <p:sp>
        <p:nvSpPr>
          <p:cNvPr id="4" name="CasellaDiTesto 3">
            <a:extLst>
              <a:ext uri="{FF2B5EF4-FFF2-40B4-BE49-F238E27FC236}">
                <a16:creationId xmlns:a16="http://schemas.microsoft.com/office/drawing/2014/main" id="{7CED9E7B-B435-004F-A937-298B79CFFE72}"/>
              </a:ext>
            </a:extLst>
          </p:cNvPr>
          <p:cNvSpPr txBox="1"/>
          <p:nvPr/>
        </p:nvSpPr>
        <p:spPr>
          <a:xfrm>
            <a:off x="994610" y="102275"/>
            <a:ext cx="10202779" cy="954107"/>
          </a:xfrm>
          <a:prstGeom prst="rect">
            <a:avLst/>
          </a:prstGeom>
          <a:noFill/>
        </p:spPr>
        <p:txBody>
          <a:bodyPr wrap="square" rtlCol="0">
            <a:spAutoFit/>
          </a:bodyPr>
          <a:lstStyle/>
          <a:p>
            <a:pPr algn="ctr"/>
            <a:r>
              <a:rPr lang="it-IT" altLang="it-IT" sz="2800" dirty="0"/>
              <a:t>EFFETTI DELLA NON ADERENZA AI FARMACI SULL’OSPEDALIZZAZIONE E SULLA MORTALITÀ</a:t>
            </a:r>
          </a:p>
        </p:txBody>
      </p:sp>
      <p:grpSp>
        <p:nvGrpSpPr>
          <p:cNvPr id="2" name="Gruppo 1">
            <a:extLst>
              <a:ext uri="{FF2B5EF4-FFF2-40B4-BE49-F238E27FC236}">
                <a16:creationId xmlns:a16="http://schemas.microsoft.com/office/drawing/2014/main" id="{CDCBE176-69F9-1A4D-AE3E-3B7A8C7FBF5E}"/>
              </a:ext>
            </a:extLst>
          </p:cNvPr>
          <p:cNvGrpSpPr/>
          <p:nvPr/>
        </p:nvGrpSpPr>
        <p:grpSpPr>
          <a:xfrm>
            <a:off x="1443788" y="1636812"/>
            <a:ext cx="5919539" cy="3575268"/>
            <a:chOff x="1443788" y="1979712"/>
            <a:chExt cx="5919539" cy="3575268"/>
          </a:xfrm>
        </p:grpSpPr>
        <p:pic>
          <p:nvPicPr>
            <p:cNvPr id="112641" name="Immagine 1">
              <a:extLst>
                <a:ext uri="{FF2B5EF4-FFF2-40B4-BE49-F238E27FC236}">
                  <a16:creationId xmlns:a16="http://schemas.microsoft.com/office/drawing/2014/main" id="{21BAC454-96D8-E24D-87EA-305B5A2B6818}"/>
                </a:ext>
              </a:extLst>
            </p:cNvPr>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a:stretch/>
          </p:blipFill>
          <p:spPr bwMode="auto">
            <a:xfrm>
              <a:off x="2147303" y="1979712"/>
              <a:ext cx="5216024" cy="32470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643" name="AutoShape 5">
              <a:extLst>
                <a:ext uri="{FF2B5EF4-FFF2-40B4-BE49-F238E27FC236}">
                  <a16:creationId xmlns:a16="http://schemas.microsoft.com/office/drawing/2014/main" id="{9753CF11-0B62-3B4E-942A-B11BFBB107D5}"/>
                </a:ext>
              </a:extLst>
            </p:cNvPr>
            <p:cNvSpPr>
              <a:spLocks/>
            </p:cNvSpPr>
            <p:nvPr/>
          </p:nvSpPr>
          <p:spPr bwMode="auto">
            <a:xfrm rot="5400013">
              <a:off x="1550902" y="2881748"/>
              <a:ext cx="409575" cy="623803"/>
            </a:xfrm>
            <a:custGeom>
              <a:avLst/>
              <a:gdLst>
                <a:gd name="T0" fmla="*/ 3883169 w 21600"/>
                <a:gd name="T1" fmla="*/ 0 h 21600"/>
                <a:gd name="T2" fmla="*/ 7766338 w 21600"/>
                <a:gd name="T3" fmla="*/ 5899231 h 21600"/>
                <a:gd name="T4" fmla="*/ 3883169 w 21600"/>
                <a:gd name="T5" fmla="*/ 11798438 h 21600"/>
                <a:gd name="T6" fmla="*/ 0 w 21600"/>
                <a:gd name="T7" fmla="*/ 5899231 h 21600"/>
                <a:gd name="T8" fmla="*/ 0 w 21600"/>
                <a:gd name="T9" fmla="*/ 9253045 h 21600"/>
                <a:gd name="T10" fmla="*/ 7766338 w 21600"/>
                <a:gd name="T11" fmla="*/ 9253045 h 21600"/>
                <a:gd name="T12" fmla="*/ 17694720 60000 65536"/>
                <a:gd name="T13" fmla="*/ 0 60000 65536"/>
                <a:gd name="T14" fmla="*/ 5898240 60000 65536"/>
                <a:gd name="T15" fmla="*/ 11796480 60000 65536"/>
                <a:gd name="T16" fmla="*/ 11796480 60000 65536"/>
                <a:gd name="T17" fmla="*/ 0 60000 65536"/>
                <a:gd name="T18" fmla="*/ 4554 w 21600"/>
                <a:gd name="T19" fmla="*/ 9797 h 21600"/>
                <a:gd name="T20" fmla="*/ 17046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4554" y="21600"/>
                  </a:moveTo>
                  <a:lnTo>
                    <a:pt x="4554" y="16940"/>
                  </a:lnTo>
                  <a:lnTo>
                    <a:pt x="0" y="16940"/>
                  </a:lnTo>
                  <a:lnTo>
                    <a:pt x="10800" y="0"/>
                  </a:lnTo>
                  <a:lnTo>
                    <a:pt x="21600" y="16940"/>
                  </a:lnTo>
                  <a:lnTo>
                    <a:pt x="17046" y="16940"/>
                  </a:lnTo>
                  <a:lnTo>
                    <a:pt x="17046" y="21600"/>
                  </a:lnTo>
                  <a:lnTo>
                    <a:pt x="4554" y="21600"/>
                  </a:lnTo>
                  <a:close/>
                </a:path>
              </a:pathLst>
            </a:custGeom>
            <a:solidFill>
              <a:schemeClr val="accent1"/>
            </a:solidFill>
            <a:ln w="9528" cap="flat">
              <a:solidFill>
                <a:schemeClr val="accent1"/>
              </a:solidFill>
              <a:prstDash val="solid"/>
              <a:miter lim="800000"/>
              <a:headEnd/>
              <a:tailEnd/>
            </a:ln>
          </p:spPr>
          <p:txBody>
            <a:bodyPr wrap="none" anchor="ctr"/>
            <a:lstStyle/>
            <a:p>
              <a:endParaRPr lang="it-IT" dirty="0"/>
            </a:p>
          </p:txBody>
        </p:sp>
        <p:sp>
          <p:nvSpPr>
            <p:cNvPr id="112644" name="Rectangle 6">
              <a:extLst>
                <a:ext uri="{FF2B5EF4-FFF2-40B4-BE49-F238E27FC236}">
                  <a16:creationId xmlns:a16="http://schemas.microsoft.com/office/drawing/2014/main" id="{6A73C76A-3C83-294A-A013-1BFFB56C1641}"/>
                </a:ext>
              </a:extLst>
            </p:cNvPr>
            <p:cNvSpPr>
              <a:spLocks noChangeArrowheads="1"/>
            </p:cNvSpPr>
            <p:nvPr/>
          </p:nvSpPr>
          <p:spPr bwMode="auto">
            <a:xfrm>
              <a:off x="2306722" y="2749215"/>
              <a:ext cx="4938628" cy="817693"/>
            </a:xfrm>
            <a:prstGeom prst="rect">
              <a:avLst/>
            </a:prstGeom>
            <a:noFill/>
            <a:ln w="25400">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endParaRPr lang="it-IT" altLang="it-IT">
                <a:solidFill>
                  <a:srgbClr val="000000"/>
                </a:solidFill>
                <a:latin typeface="Arial" panose="020B0604020202020204" pitchFamily="34" charset="0"/>
              </a:endParaRPr>
            </a:p>
          </p:txBody>
        </p:sp>
        <p:pic>
          <p:nvPicPr>
            <p:cNvPr id="9" name="Immagine 1">
              <a:extLst>
                <a:ext uri="{FF2B5EF4-FFF2-40B4-BE49-F238E27FC236}">
                  <a16:creationId xmlns:a16="http://schemas.microsoft.com/office/drawing/2014/main" id="{BFE1ABF5-9C8F-9542-8182-FA411F5B71A9}"/>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r="12863" b="2241"/>
            <a:stretch/>
          </p:blipFill>
          <p:spPr bwMode="auto">
            <a:xfrm>
              <a:off x="2662991" y="5226746"/>
              <a:ext cx="3646369" cy="328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532585034"/>
      </p:ext>
    </p:extLst>
  </p:cSld>
  <p:clrMapOvr>
    <a:masterClrMapping/>
  </p:clrMapOvr>
  <p:transition spd="slow"/>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magine 10">
            <a:extLst>
              <a:ext uri="{FF2B5EF4-FFF2-40B4-BE49-F238E27FC236}">
                <a16:creationId xmlns:a16="http://schemas.microsoft.com/office/drawing/2014/main" id="{1345D395-1283-6147-B911-56E7FC42A28C}"/>
              </a:ext>
            </a:extLst>
          </p:cNvPr>
          <p:cNvPicPr>
            <a:picLocks noChangeAspect="1"/>
          </p:cNvPicPr>
          <p:nvPr/>
        </p:nvPicPr>
        <p:blipFill>
          <a:blip r:embed="rId2">
            <a:duotone>
              <a:schemeClr val="accent6">
                <a:shade val="45000"/>
                <a:satMod val="135000"/>
              </a:schemeClr>
              <a:prstClr val="white"/>
            </a:duotone>
            <a:alphaModFix amt="30000"/>
            <a:extLst>
              <a:ext uri="{BEBA8EAE-BF5A-486C-A8C5-ECC9F3942E4B}">
                <a14:imgProps xmlns:a14="http://schemas.microsoft.com/office/drawing/2010/main">
                  <a14:imgLayer r:embed="rId3">
                    <a14:imgEffect>
                      <a14:colorTemperature colorTemp="1500"/>
                    </a14:imgEffect>
                    <a14:imgEffect>
                      <a14:saturation sat="0"/>
                    </a14:imgEffect>
                  </a14:imgLayer>
                </a14:imgProps>
              </a:ext>
            </a:extLst>
          </a:blip>
          <a:stretch>
            <a:fillRect/>
          </a:stretch>
        </p:blipFill>
        <p:spPr>
          <a:xfrm>
            <a:off x="0" y="0"/>
            <a:ext cx="12199171" cy="6858000"/>
          </a:xfrm>
          <a:prstGeom prst="rect">
            <a:avLst/>
          </a:prstGeom>
          <a:solidFill>
            <a:srgbClr val="FFFFFF"/>
          </a:solidFill>
          <a:ln>
            <a:solidFill>
              <a:schemeClr val="bg1"/>
            </a:solidFill>
          </a:ln>
        </p:spPr>
      </p:pic>
      <p:sp>
        <p:nvSpPr>
          <p:cNvPr id="113665" name="Segnaposto numero diapositiva 3">
            <a:extLst>
              <a:ext uri="{FF2B5EF4-FFF2-40B4-BE49-F238E27FC236}">
                <a16:creationId xmlns:a16="http://schemas.microsoft.com/office/drawing/2014/main" id="{8A6DC338-D192-D848-8C5E-BB27AD9B89D2}"/>
              </a:ext>
            </a:extLst>
          </p:cNvPr>
          <p:cNvSpPr txBox="1">
            <a:spLocks noChangeArrowheads="1"/>
          </p:cNvSpPr>
          <p:nvPr/>
        </p:nvSpPr>
        <p:spPr bwMode="auto">
          <a:xfrm>
            <a:off x="8534400" y="6492876"/>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3" tIns="45701" rIns="91403" bIns="45701" anchor="b" anchorCtr="1"/>
          <a:lstStyle>
            <a:lvl1pPr defTabSz="401638">
              <a:defRPr>
                <a:solidFill>
                  <a:schemeClr val="tx1"/>
                </a:solidFill>
                <a:latin typeface="Calibri" panose="020F0502020204030204" pitchFamily="34" charset="0"/>
              </a:defRPr>
            </a:lvl1pPr>
            <a:lvl2pPr marL="742950" indent="-285750" defTabSz="401638">
              <a:defRPr>
                <a:solidFill>
                  <a:schemeClr val="tx1"/>
                </a:solidFill>
                <a:latin typeface="Calibri" panose="020F0502020204030204" pitchFamily="34" charset="0"/>
              </a:defRPr>
            </a:lvl2pPr>
            <a:lvl3pPr marL="1143000" indent="-228600" defTabSz="401638">
              <a:defRPr>
                <a:solidFill>
                  <a:schemeClr val="tx1"/>
                </a:solidFill>
                <a:latin typeface="Calibri" panose="020F0502020204030204" pitchFamily="34" charset="0"/>
              </a:defRPr>
            </a:lvl3pPr>
            <a:lvl4pPr marL="1600200" indent="-228600" defTabSz="401638">
              <a:defRPr>
                <a:solidFill>
                  <a:schemeClr val="tx1"/>
                </a:solidFill>
                <a:latin typeface="Calibri" panose="020F0502020204030204" pitchFamily="34" charset="0"/>
              </a:defRPr>
            </a:lvl4pPr>
            <a:lvl5pPr marL="2057400" indent="-228600" defTabSz="401638">
              <a:defRPr>
                <a:solidFill>
                  <a:schemeClr val="tx1"/>
                </a:solidFill>
                <a:latin typeface="Calibri" panose="020F0502020204030204" pitchFamily="34" charset="0"/>
              </a:defRPr>
            </a:lvl5pPr>
            <a:lvl6pPr marL="2514600" indent="-228600" defTabSz="401638" eaLnBrk="0" fontAlgn="base" hangingPunct="0">
              <a:spcBef>
                <a:spcPct val="0"/>
              </a:spcBef>
              <a:spcAft>
                <a:spcPct val="0"/>
              </a:spcAft>
              <a:defRPr>
                <a:solidFill>
                  <a:schemeClr val="tx1"/>
                </a:solidFill>
                <a:latin typeface="Calibri" panose="020F0502020204030204" pitchFamily="34" charset="0"/>
              </a:defRPr>
            </a:lvl6pPr>
            <a:lvl7pPr marL="2971800" indent="-228600" defTabSz="401638" eaLnBrk="0" fontAlgn="base" hangingPunct="0">
              <a:spcBef>
                <a:spcPct val="0"/>
              </a:spcBef>
              <a:spcAft>
                <a:spcPct val="0"/>
              </a:spcAft>
              <a:defRPr>
                <a:solidFill>
                  <a:schemeClr val="tx1"/>
                </a:solidFill>
                <a:latin typeface="Calibri" panose="020F0502020204030204" pitchFamily="34" charset="0"/>
              </a:defRPr>
            </a:lvl7pPr>
            <a:lvl8pPr marL="3429000" indent="-228600" defTabSz="401638" eaLnBrk="0" fontAlgn="base" hangingPunct="0">
              <a:spcBef>
                <a:spcPct val="0"/>
              </a:spcBef>
              <a:spcAft>
                <a:spcPct val="0"/>
              </a:spcAft>
              <a:defRPr>
                <a:solidFill>
                  <a:schemeClr val="tx1"/>
                </a:solidFill>
                <a:latin typeface="Calibri" panose="020F0502020204030204" pitchFamily="34" charset="0"/>
              </a:defRPr>
            </a:lvl8pPr>
            <a:lvl9pPr marL="3886200" indent="-228600" defTabSz="401638"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fld id="{9927EA6B-D689-7847-BAC4-B5DE13588AA8}" type="slidenum">
              <a:rPr lang="it-IT" altLang="it-IT" sz="1100">
                <a:solidFill>
                  <a:srgbClr val="FFFFFF"/>
                </a:solidFill>
                <a:latin typeface="Gill Sans" panose="020B0502020104020203" pitchFamily="34" charset="-79"/>
                <a:cs typeface="Lucida Sans Unicode" panose="020B0602030504020204" pitchFamily="34" charset="0"/>
              </a:rPr>
              <a:pPr algn="ctr" eaLnBrk="1" hangingPunct="1"/>
              <a:t>19</a:t>
            </a:fld>
            <a:endParaRPr lang="it-IT" altLang="it-IT" sz="1100">
              <a:solidFill>
                <a:srgbClr val="FFFFFF"/>
              </a:solidFill>
              <a:latin typeface="Gill Sans" panose="020B0502020104020203" pitchFamily="34" charset="-79"/>
              <a:cs typeface="Lucida Sans Unicode" panose="020B0602030504020204" pitchFamily="34" charset="0"/>
            </a:endParaRPr>
          </a:p>
        </p:txBody>
      </p:sp>
      <p:graphicFrame>
        <p:nvGraphicFramePr>
          <p:cNvPr id="4" name="Grafico 3">
            <a:extLst>
              <a:ext uri="{FF2B5EF4-FFF2-40B4-BE49-F238E27FC236}">
                <a16:creationId xmlns:a16="http://schemas.microsoft.com/office/drawing/2014/main" id="{C6465455-52FA-D44B-B608-4FEF7B8D6380}"/>
              </a:ext>
            </a:extLst>
          </p:cNvPr>
          <p:cNvGraphicFramePr/>
          <p:nvPr>
            <p:extLst>
              <p:ext uri="{D42A27DB-BD31-4B8C-83A1-F6EECF244321}">
                <p14:modId xmlns:p14="http://schemas.microsoft.com/office/powerpoint/2010/main" val="244019704"/>
              </p:ext>
            </p:extLst>
          </p:nvPr>
        </p:nvGraphicFramePr>
        <p:xfrm>
          <a:off x="2343168" y="1980664"/>
          <a:ext cx="7505664" cy="4777872"/>
        </p:xfrm>
        <a:graphic>
          <a:graphicData uri="http://schemas.openxmlformats.org/drawingml/2006/chart">
            <c:chart xmlns:c="http://schemas.openxmlformats.org/drawingml/2006/chart" xmlns:r="http://schemas.openxmlformats.org/officeDocument/2006/relationships" r:id="rId4"/>
          </a:graphicData>
        </a:graphic>
      </p:graphicFrame>
      <p:sp>
        <p:nvSpPr>
          <p:cNvPr id="113669" name="Rectangle 9">
            <a:extLst>
              <a:ext uri="{FF2B5EF4-FFF2-40B4-BE49-F238E27FC236}">
                <a16:creationId xmlns:a16="http://schemas.microsoft.com/office/drawing/2014/main" id="{5FF889D8-77A4-5A4B-8D35-20C98D95430A}"/>
              </a:ext>
            </a:extLst>
          </p:cNvPr>
          <p:cNvSpPr>
            <a:spLocks noChangeArrowheads="1"/>
          </p:cNvSpPr>
          <p:nvPr/>
        </p:nvSpPr>
        <p:spPr bwMode="auto">
          <a:xfrm>
            <a:off x="4251158" y="3429000"/>
            <a:ext cx="1291892" cy="2218830"/>
          </a:xfrm>
          <a:prstGeom prst="rect">
            <a:avLst/>
          </a:prstGeom>
          <a:noFill/>
          <a:ln w="38100">
            <a:solidFill>
              <a:srgbClr val="FF2F9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endParaRPr lang="it-IT" altLang="it-IT">
              <a:solidFill>
                <a:srgbClr val="000000"/>
              </a:solidFill>
              <a:latin typeface="Arial" panose="020B0604020202020204" pitchFamily="34" charset="0"/>
            </a:endParaRPr>
          </a:p>
        </p:txBody>
      </p:sp>
      <p:pic>
        <p:nvPicPr>
          <p:cNvPr id="2" name="Immagine 1">
            <a:extLst>
              <a:ext uri="{FF2B5EF4-FFF2-40B4-BE49-F238E27FC236}">
                <a16:creationId xmlns:a16="http://schemas.microsoft.com/office/drawing/2014/main" id="{80B0692A-03A5-0C49-9188-0ABE8FC89A06}"/>
              </a:ext>
            </a:extLst>
          </p:cNvPr>
          <p:cNvPicPr>
            <a:picLocks noChangeAspect="1"/>
          </p:cNvPicPr>
          <p:nvPr/>
        </p:nvPicPr>
        <p:blipFill>
          <a:blip r:embed="rId5"/>
          <a:stretch>
            <a:fillRect/>
          </a:stretch>
        </p:blipFill>
        <p:spPr>
          <a:xfrm>
            <a:off x="2049797" y="237684"/>
            <a:ext cx="8092406" cy="1742980"/>
          </a:xfrm>
          <a:prstGeom prst="rect">
            <a:avLst/>
          </a:prstGeom>
        </p:spPr>
      </p:pic>
      <p:pic>
        <p:nvPicPr>
          <p:cNvPr id="3" name="Immagine 2">
            <a:extLst>
              <a:ext uri="{FF2B5EF4-FFF2-40B4-BE49-F238E27FC236}">
                <a16:creationId xmlns:a16="http://schemas.microsoft.com/office/drawing/2014/main" id="{AE14A013-8E6C-E44A-89A2-BB0D29A98E76}"/>
              </a:ext>
            </a:extLst>
          </p:cNvPr>
          <p:cNvPicPr>
            <a:picLocks noChangeAspect="1"/>
          </p:cNvPicPr>
          <p:nvPr/>
        </p:nvPicPr>
        <p:blipFill>
          <a:blip r:embed="rId6"/>
          <a:stretch>
            <a:fillRect/>
          </a:stretch>
        </p:blipFill>
        <p:spPr>
          <a:xfrm>
            <a:off x="9157842" y="4538415"/>
            <a:ext cx="1968721" cy="982930"/>
          </a:xfrm>
          <a:prstGeom prst="rect">
            <a:avLst/>
          </a:prstGeom>
        </p:spPr>
      </p:pic>
    </p:spTree>
    <p:extLst>
      <p:ext uri="{BB962C8B-B14F-4D97-AF65-F5344CB8AC3E}">
        <p14:creationId xmlns:p14="http://schemas.microsoft.com/office/powerpoint/2010/main" val="3470798425"/>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normAutofit fontScale="90000"/>
          </a:bodyPr>
          <a:lstStyle/>
          <a:p>
            <a:r>
              <a:rPr lang="it-IT" dirty="0"/>
              <a:t>PROGRAMMA FARMACOECONOMIA</a:t>
            </a:r>
            <a:br>
              <a:rPr lang="it-IT" dirty="0"/>
            </a:br>
            <a:endParaRPr lang="it-IT" dirty="0"/>
          </a:p>
        </p:txBody>
      </p:sp>
      <p:sp>
        <p:nvSpPr>
          <p:cNvPr id="3" name="Segnaposto contenuto 2"/>
          <p:cNvSpPr>
            <a:spLocks noGrp="1"/>
          </p:cNvSpPr>
          <p:nvPr>
            <p:ph idx="1"/>
          </p:nvPr>
        </p:nvSpPr>
        <p:spPr>
          <a:xfrm>
            <a:off x="685800" y="1895981"/>
            <a:ext cx="10820400" cy="4299546"/>
          </a:xfrm>
        </p:spPr>
        <p:txBody>
          <a:bodyPr>
            <a:normAutofit fontScale="55000" lnSpcReduction="20000"/>
          </a:bodyPr>
          <a:lstStyle/>
          <a:p>
            <a:pPr marL="0" indent="0">
              <a:buNone/>
            </a:pPr>
            <a:r>
              <a:rPr lang="it-IT" sz="2900" dirty="0"/>
              <a:t> </a:t>
            </a:r>
          </a:p>
          <a:p>
            <a:r>
              <a:rPr lang="it-IT" sz="2900" dirty="0"/>
              <a:t>Introduzione alla </a:t>
            </a:r>
            <a:r>
              <a:rPr lang="it-IT" sz="2900" dirty="0" err="1"/>
              <a:t>farmacoeconomia</a:t>
            </a:r>
            <a:r>
              <a:rPr lang="it-IT" sz="2900" dirty="0"/>
              <a:t>. Definizione e scopo della </a:t>
            </a:r>
            <a:r>
              <a:rPr lang="it-IT" sz="2900" dirty="0" err="1"/>
              <a:t>farmacoeconomia</a:t>
            </a:r>
            <a:r>
              <a:rPr lang="it-IT" sz="2900" dirty="0"/>
              <a:t>.</a:t>
            </a:r>
          </a:p>
          <a:p>
            <a:r>
              <a:rPr lang="it-IT" sz="2900" dirty="0"/>
              <a:t>Cenni sull’autorizzazione all'immissione in commercio, l’assegnazione del prezzo e rimborsabilità (classi di rimborsabilità, prezzo, negoziazione).</a:t>
            </a:r>
          </a:p>
          <a:p>
            <a:r>
              <a:rPr lang="it-IT" sz="2900" dirty="0"/>
              <a:t>AIFA e il processo di valutazione dei farmaci: commissione tecnico scientifica e il comitato prezzi e rimborso. Criteri di negoziazione e rimborsabilità. Prontuari terapeutici.</a:t>
            </a:r>
          </a:p>
          <a:p>
            <a:r>
              <a:rPr lang="it-IT" sz="2900" dirty="0"/>
              <a:t>L’</a:t>
            </a:r>
            <a:r>
              <a:rPr lang="it-IT" sz="2900" dirty="0" err="1"/>
              <a:t>Health</a:t>
            </a:r>
            <a:r>
              <a:rPr lang="it-IT" sz="2900" dirty="0"/>
              <a:t> Technology </a:t>
            </a:r>
            <a:r>
              <a:rPr lang="it-IT" sz="2900" dirty="0" err="1"/>
              <a:t>Assessment</a:t>
            </a:r>
            <a:r>
              <a:rPr lang="it-IT" sz="2900" dirty="0"/>
              <a:t> (HTA) e la sua integrazione nel processo </a:t>
            </a:r>
            <a:r>
              <a:rPr lang="it-IT" sz="2900" dirty="0" err="1"/>
              <a:t>regolatorio</a:t>
            </a:r>
            <a:r>
              <a:rPr lang="it-IT" sz="2900" dirty="0"/>
              <a:t>.</a:t>
            </a:r>
          </a:p>
          <a:p>
            <a:r>
              <a:rPr lang="it-IT" sz="2900" dirty="0"/>
              <a:t>Definizione e scopo, caratteristiche di HTA nella valutazione formale di un processo.</a:t>
            </a:r>
          </a:p>
          <a:p>
            <a:r>
              <a:rPr lang="it-IT" sz="2900" dirty="0" err="1"/>
              <a:t>Horizon</a:t>
            </a:r>
            <a:r>
              <a:rPr lang="it-IT" sz="2900" dirty="0"/>
              <a:t> scanning: definizione e scopo. L'HTA nelle aziende sanitarie del SSN. </a:t>
            </a:r>
          </a:p>
          <a:p>
            <a:r>
              <a:rPr lang="it-IT" sz="2900" dirty="0"/>
              <a:t>La sostenibilità del SSN. Criticità dei paesi industrializzati. Principi fondamentali. </a:t>
            </a:r>
          </a:p>
          <a:p>
            <a:r>
              <a:rPr lang="it-IT" sz="2900" dirty="0"/>
              <a:t>Le risorse sanitarie: concetto di domanda e bisogni sanitari. Offerta dei servizi sanitari. </a:t>
            </a:r>
          </a:p>
          <a:p>
            <a:r>
              <a:rPr lang="it-IT" sz="2900" dirty="0"/>
              <a:t>Ripartizione della spesa sanitaria. Spesa pubblica e spesa privata. Sprechi della spesa sanitaria.</a:t>
            </a:r>
          </a:p>
          <a:p>
            <a:r>
              <a:rPr lang="it-IT" sz="2900" dirty="0"/>
              <a:t>Le dimensioni del valore terapeutico di un trattamento farmacologico. </a:t>
            </a:r>
          </a:p>
          <a:p>
            <a:r>
              <a:rPr lang="it-IT" sz="2900" dirty="0"/>
              <a:t>Innovazione e sostenibilità.</a:t>
            </a:r>
          </a:p>
          <a:p>
            <a:endParaRPr lang="it-IT" dirty="0"/>
          </a:p>
        </p:txBody>
      </p:sp>
    </p:spTree>
    <p:extLst>
      <p:ext uri="{BB962C8B-B14F-4D97-AF65-F5344CB8AC3E}">
        <p14:creationId xmlns:p14="http://schemas.microsoft.com/office/powerpoint/2010/main" val="19895874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magine 9">
            <a:extLst>
              <a:ext uri="{FF2B5EF4-FFF2-40B4-BE49-F238E27FC236}">
                <a16:creationId xmlns:a16="http://schemas.microsoft.com/office/drawing/2014/main" id="{23123115-B6BA-8545-9521-A38F09345CDD}"/>
              </a:ext>
            </a:extLst>
          </p:cNvPr>
          <p:cNvPicPr>
            <a:picLocks noChangeAspect="1"/>
          </p:cNvPicPr>
          <p:nvPr/>
        </p:nvPicPr>
        <p:blipFill>
          <a:blip r:embed="rId2">
            <a:duotone>
              <a:schemeClr val="accent6">
                <a:shade val="45000"/>
                <a:satMod val="135000"/>
              </a:schemeClr>
              <a:prstClr val="white"/>
            </a:duotone>
            <a:alphaModFix amt="30000"/>
            <a:extLst>
              <a:ext uri="{BEBA8EAE-BF5A-486C-A8C5-ECC9F3942E4B}">
                <a14:imgProps xmlns:a14="http://schemas.microsoft.com/office/drawing/2010/main">
                  <a14:imgLayer r:embed="rId3">
                    <a14:imgEffect>
                      <a14:colorTemperature colorTemp="1500"/>
                    </a14:imgEffect>
                    <a14:imgEffect>
                      <a14:saturation sat="0"/>
                    </a14:imgEffect>
                  </a14:imgLayer>
                </a14:imgProps>
              </a:ext>
            </a:extLst>
          </a:blip>
          <a:stretch>
            <a:fillRect/>
          </a:stretch>
        </p:blipFill>
        <p:spPr>
          <a:xfrm>
            <a:off x="0" y="0"/>
            <a:ext cx="12199171" cy="6858000"/>
          </a:xfrm>
          <a:prstGeom prst="rect">
            <a:avLst/>
          </a:prstGeom>
          <a:solidFill>
            <a:srgbClr val="FFFFFF"/>
          </a:solidFill>
          <a:ln>
            <a:solidFill>
              <a:schemeClr val="bg1"/>
            </a:solidFill>
          </a:ln>
        </p:spPr>
      </p:pic>
      <p:sp>
        <p:nvSpPr>
          <p:cNvPr id="84993" name="Rectangle 2">
            <a:extLst>
              <a:ext uri="{FF2B5EF4-FFF2-40B4-BE49-F238E27FC236}">
                <a16:creationId xmlns:a16="http://schemas.microsoft.com/office/drawing/2014/main" id="{545246A9-49F7-AC41-B154-C817B0137D31}"/>
              </a:ext>
            </a:extLst>
          </p:cNvPr>
          <p:cNvSpPr txBox="1">
            <a:spLocks noGrp="1" noChangeArrowheads="1"/>
          </p:cNvSpPr>
          <p:nvPr>
            <p:ph type="title"/>
          </p:nvPr>
        </p:nvSpPr>
        <p:spPr>
          <a:xfrm>
            <a:off x="2590164" y="22161"/>
            <a:ext cx="6916420" cy="1004887"/>
          </a:xfrm>
        </p:spPr>
        <p:txBody>
          <a:bodyPr>
            <a:normAutofit/>
          </a:bodyPr>
          <a:lstStyle/>
          <a:p>
            <a:pPr eaLnBrk="1" hangingPunct="1">
              <a:defRPr/>
            </a:pPr>
            <a:r>
              <a:rPr altLang="it-IT" sz="3600" dirty="0"/>
              <a:t>COSTO</a:t>
            </a:r>
            <a:r>
              <a:rPr lang="it-IT" altLang="it-IT" sz="3600" dirty="0"/>
              <a:t> DELLA</a:t>
            </a:r>
            <a:r>
              <a:rPr altLang="it-IT" sz="3600" dirty="0"/>
              <a:t> NON ADERENZA</a:t>
            </a:r>
          </a:p>
        </p:txBody>
      </p:sp>
      <p:pic>
        <p:nvPicPr>
          <p:cNvPr id="114690" name="Picture 3">
            <a:extLst>
              <a:ext uri="{FF2B5EF4-FFF2-40B4-BE49-F238E27FC236}">
                <a16:creationId xmlns:a16="http://schemas.microsoft.com/office/drawing/2014/main" id="{C0F9A8CC-FAA3-4641-A2CB-BB6AFE82B32A}"/>
              </a:ext>
            </a:extLst>
          </p:cNvPr>
          <p:cNvPicPr>
            <a:picLocks noGrp="1" noChangeAspect="1" noChangeArrowheads="1"/>
          </p:cNvPicPr>
          <p:nvPr>
            <p:ph idx="1"/>
          </p:nvPr>
        </p:nvPicPr>
        <p:blipFill>
          <a:blip r:embed="rId4">
            <a:extLst>
              <a:ext uri="{28A0092B-C50C-407E-A947-70E740481C1C}">
                <a14:useLocalDpi xmlns:a14="http://schemas.microsoft.com/office/drawing/2010/main"/>
              </a:ext>
            </a:extLst>
          </a:blip>
          <a:stretch>
            <a:fillRect/>
          </a:stretch>
        </p:blipFill>
        <p:spPr>
          <a:xfrm>
            <a:off x="1686332" y="1346879"/>
            <a:ext cx="8724085" cy="4267558"/>
          </a:xfrm>
        </p:spPr>
      </p:pic>
      <p:sp>
        <p:nvSpPr>
          <p:cNvPr id="114691" name="Rectangle 6">
            <a:extLst>
              <a:ext uri="{FF2B5EF4-FFF2-40B4-BE49-F238E27FC236}">
                <a16:creationId xmlns:a16="http://schemas.microsoft.com/office/drawing/2014/main" id="{6E66411B-95FF-8247-B5FE-2A8B836BBA02}"/>
              </a:ext>
            </a:extLst>
          </p:cNvPr>
          <p:cNvSpPr>
            <a:spLocks noChangeArrowheads="1"/>
          </p:cNvSpPr>
          <p:nvPr/>
        </p:nvSpPr>
        <p:spPr bwMode="auto">
          <a:xfrm>
            <a:off x="1871663" y="2873375"/>
            <a:ext cx="1057275" cy="2272750"/>
          </a:xfrm>
          <a:prstGeom prst="rect">
            <a:avLst/>
          </a:prstGeom>
          <a:noFill/>
          <a:ln w="34920">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endParaRPr lang="it-IT" altLang="it-IT">
              <a:solidFill>
                <a:srgbClr val="000000"/>
              </a:solidFill>
              <a:latin typeface="Arial" panose="020B0604020202020204" pitchFamily="34" charset="0"/>
            </a:endParaRPr>
          </a:p>
        </p:txBody>
      </p:sp>
      <p:sp>
        <p:nvSpPr>
          <p:cNvPr id="114692" name="Text Box 7">
            <a:extLst>
              <a:ext uri="{FF2B5EF4-FFF2-40B4-BE49-F238E27FC236}">
                <a16:creationId xmlns:a16="http://schemas.microsoft.com/office/drawing/2014/main" id="{FAE45791-1620-4740-94DB-4BF8545AFD1A}"/>
              </a:ext>
            </a:extLst>
          </p:cNvPr>
          <p:cNvSpPr txBox="1">
            <a:spLocks noChangeArrowheads="1"/>
          </p:cNvSpPr>
          <p:nvPr/>
        </p:nvSpPr>
        <p:spPr bwMode="auto">
          <a:xfrm>
            <a:off x="7810417" y="6171991"/>
            <a:ext cx="3581567" cy="321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1">
            <a:spAutoFit/>
          </a:bodyPr>
          <a:lstStyle>
            <a:lvl1pPr marL="342900" indent="-34290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indent="0" algn="r">
              <a:lnSpc>
                <a:spcPct val="140000"/>
              </a:lnSpc>
              <a:spcBef>
                <a:spcPts val="700"/>
              </a:spcBef>
              <a:buClr>
                <a:srgbClr val="808080"/>
              </a:buClr>
              <a:buSzPct val="75000"/>
            </a:pPr>
            <a:r>
              <a:rPr lang="it-IT" altLang="it-IT" sz="1200">
                <a:solidFill>
                  <a:schemeClr val="tx2"/>
                </a:solidFill>
                <a:latin typeface="+mn-lt"/>
              </a:rPr>
              <a:t>IMS Institute - Giugno 2013</a:t>
            </a:r>
          </a:p>
        </p:txBody>
      </p:sp>
      <p:sp>
        <p:nvSpPr>
          <p:cNvPr id="114693" name="AutoShape 8">
            <a:extLst>
              <a:ext uri="{FF2B5EF4-FFF2-40B4-BE49-F238E27FC236}">
                <a16:creationId xmlns:a16="http://schemas.microsoft.com/office/drawing/2014/main" id="{056A85CC-2A66-184A-B769-05E82FE14231}"/>
              </a:ext>
            </a:extLst>
          </p:cNvPr>
          <p:cNvSpPr>
            <a:spLocks/>
          </p:cNvSpPr>
          <p:nvPr/>
        </p:nvSpPr>
        <p:spPr bwMode="auto">
          <a:xfrm>
            <a:off x="9396412" y="5220321"/>
            <a:ext cx="409575" cy="504825"/>
          </a:xfrm>
          <a:custGeom>
            <a:avLst/>
            <a:gdLst>
              <a:gd name="T0" fmla="*/ 3883169 w 21600"/>
              <a:gd name="T1" fmla="*/ 0 h 21600"/>
              <a:gd name="T2" fmla="*/ 7766338 w 21600"/>
              <a:gd name="T3" fmla="*/ 5899231 h 21600"/>
              <a:gd name="T4" fmla="*/ 3883169 w 21600"/>
              <a:gd name="T5" fmla="*/ 11798438 h 21600"/>
              <a:gd name="T6" fmla="*/ 0 w 21600"/>
              <a:gd name="T7" fmla="*/ 5899231 h 21600"/>
              <a:gd name="T8" fmla="*/ 0 w 21600"/>
              <a:gd name="T9" fmla="*/ 9253045 h 21600"/>
              <a:gd name="T10" fmla="*/ 7766338 w 21600"/>
              <a:gd name="T11" fmla="*/ 9253045 h 21600"/>
              <a:gd name="T12" fmla="*/ 17694720 60000 65536"/>
              <a:gd name="T13" fmla="*/ 0 60000 65536"/>
              <a:gd name="T14" fmla="*/ 5898240 60000 65536"/>
              <a:gd name="T15" fmla="*/ 11796480 60000 65536"/>
              <a:gd name="T16" fmla="*/ 11796480 60000 65536"/>
              <a:gd name="T17" fmla="*/ 0 60000 65536"/>
              <a:gd name="T18" fmla="*/ 4554 w 21600"/>
              <a:gd name="T19" fmla="*/ 9797 h 21600"/>
              <a:gd name="T20" fmla="*/ 17046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4554" y="21600"/>
                </a:moveTo>
                <a:lnTo>
                  <a:pt x="4554" y="16940"/>
                </a:lnTo>
                <a:lnTo>
                  <a:pt x="0" y="16940"/>
                </a:lnTo>
                <a:lnTo>
                  <a:pt x="10800" y="0"/>
                </a:lnTo>
                <a:lnTo>
                  <a:pt x="21600" y="16940"/>
                </a:lnTo>
                <a:lnTo>
                  <a:pt x="17046" y="16940"/>
                </a:lnTo>
                <a:lnTo>
                  <a:pt x="17046" y="21600"/>
                </a:lnTo>
                <a:lnTo>
                  <a:pt x="4554" y="21600"/>
                </a:lnTo>
                <a:close/>
              </a:path>
            </a:pathLst>
          </a:custGeom>
          <a:solidFill>
            <a:srgbClr val="76D6FF"/>
          </a:solidFill>
          <a:ln w="9528" cap="flat">
            <a:solidFill>
              <a:srgbClr val="FFFFFF"/>
            </a:solidFill>
            <a:prstDash val="solid"/>
            <a:miter lim="800000"/>
            <a:headEnd/>
            <a:tailEnd/>
          </a:ln>
        </p:spPr>
        <p:txBody>
          <a:bodyPr wrap="none" anchor="ctr"/>
          <a:lstStyle/>
          <a:p>
            <a:endParaRPr lang="it-IT" dirty="0"/>
          </a:p>
        </p:txBody>
      </p:sp>
      <p:sp>
        <p:nvSpPr>
          <p:cNvPr id="114694" name="Rectangle 9">
            <a:extLst>
              <a:ext uri="{FF2B5EF4-FFF2-40B4-BE49-F238E27FC236}">
                <a16:creationId xmlns:a16="http://schemas.microsoft.com/office/drawing/2014/main" id="{0B9F0094-E1BF-2A42-9C4B-8BC22980F360}"/>
              </a:ext>
            </a:extLst>
          </p:cNvPr>
          <p:cNvSpPr>
            <a:spLocks noChangeArrowheads="1"/>
          </p:cNvSpPr>
          <p:nvPr/>
        </p:nvSpPr>
        <p:spPr bwMode="auto">
          <a:xfrm>
            <a:off x="9174119" y="1629500"/>
            <a:ext cx="854160" cy="504825"/>
          </a:xfrm>
          <a:prstGeom prst="rect">
            <a:avLst/>
          </a:prstGeom>
          <a:noFill/>
          <a:ln w="34920">
            <a:solidFill>
              <a:srgbClr val="FF2F9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endParaRPr lang="it-IT" altLang="it-IT">
              <a:latin typeface="Arial" panose="020B0604020202020204" pitchFamily="34" charset="0"/>
            </a:endParaRPr>
          </a:p>
        </p:txBody>
      </p:sp>
      <p:sp>
        <p:nvSpPr>
          <p:cNvPr id="114695" name="AutoShape 5">
            <a:extLst>
              <a:ext uri="{FF2B5EF4-FFF2-40B4-BE49-F238E27FC236}">
                <a16:creationId xmlns:a16="http://schemas.microsoft.com/office/drawing/2014/main" id="{9B1DC165-50F2-094B-982A-BFF55F191DEB}"/>
              </a:ext>
            </a:extLst>
          </p:cNvPr>
          <p:cNvSpPr>
            <a:spLocks/>
          </p:cNvSpPr>
          <p:nvPr/>
        </p:nvSpPr>
        <p:spPr bwMode="auto">
          <a:xfrm>
            <a:off x="2195512" y="5220321"/>
            <a:ext cx="409575" cy="504825"/>
          </a:xfrm>
          <a:custGeom>
            <a:avLst/>
            <a:gdLst>
              <a:gd name="T0" fmla="*/ 3883169 w 21600"/>
              <a:gd name="T1" fmla="*/ 0 h 21600"/>
              <a:gd name="T2" fmla="*/ 7766338 w 21600"/>
              <a:gd name="T3" fmla="*/ 5899231 h 21600"/>
              <a:gd name="T4" fmla="*/ 3883169 w 21600"/>
              <a:gd name="T5" fmla="*/ 11798438 h 21600"/>
              <a:gd name="T6" fmla="*/ 0 w 21600"/>
              <a:gd name="T7" fmla="*/ 5899231 h 21600"/>
              <a:gd name="T8" fmla="*/ 0 w 21600"/>
              <a:gd name="T9" fmla="*/ 9253045 h 21600"/>
              <a:gd name="T10" fmla="*/ 7766338 w 21600"/>
              <a:gd name="T11" fmla="*/ 9253045 h 21600"/>
              <a:gd name="T12" fmla="*/ 17694720 60000 65536"/>
              <a:gd name="T13" fmla="*/ 0 60000 65536"/>
              <a:gd name="T14" fmla="*/ 5898240 60000 65536"/>
              <a:gd name="T15" fmla="*/ 11796480 60000 65536"/>
              <a:gd name="T16" fmla="*/ 11796480 60000 65536"/>
              <a:gd name="T17" fmla="*/ 0 60000 65536"/>
              <a:gd name="T18" fmla="*/ 4554 w 21600"/>
              <a:gd name="T19" fmla="*/ 9797 h 21600"/>
              <a:gd name="T20" fmla="*/ 17046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4554" y="21600"/>
                </a:moveTo>
                <a:lnTo>
                  <a:pt x="4554" y="16940"/>
                </a:lnTo>
                <a:lnTo>
                  <a:pt x="0" y="16940"/>
                </a:lnTo>
                <a:lnTo>
                  <a:pt x="10800" y="0"/>
                </a:lnTo>
                <a:lnTo>
                  <a:pt x="21600" y="16940"/>
                </a:lnTo>
                <a:lnTo>
                  <a:pt x="17046" y="16940"/>
                </a:lnTo>
                <a:lnTo>
                  <a:pt x="17046" y="21600"/>
                </a:lnTo>
                <a:lnTo>
                  <a:pt x="4554" y="21600"/>
                </a:lnTo>
                <a:close/>
              </a:path>
            </a:pathLst>
          </a:custGeom>
          <a:solidFill>
            <a:srgbClr val="FF2F92"/>
          </a:solidFill>
          <a:ln w="9528" cap="flat">
            <a:solidFill>
              <a:srgbClr val="FFFFFF"/>
            </a:solidFill>
            <a:prstDash val="solid"/>
            <a:miter lim="800000"/>
            <a:headEnd/>
            <a:tailEnd/>
          </a:ln>
        </p:spPr>
        <p:txBody>
          <a:bodyPr wrap="none" anchor="ctr"/>
          <a:lstStyle/>
          <a:p>
            <a:endParaRPr lang="it-IT" dirty="0"/>
          </a:p>
        </p:txBody>
      </p:sp>
    </p:spTree>
    <p:extLst>
      <p:ext uri="{BB962C8B-B14F-4D97-AF65-F5344CB8AC3E}">
        <p14:creationId xmlns:p14="http://schemas.microsoft.com/office/powerpoint/2010/main" val="3311365064"/>
      </p:ext>
    </p:extLst>
  </p:cSld>
  <p:clrMapOvr>
    <a:masterClrMapping/>
  </p:clrMapOvr>
  <p:transition spd="slow"/>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magine 5">
            <a:extLst>
              <a:ext uri="{FF2B5EF4-FFF2-40B4-BE49-F238E27FC236}">
                <a16:creationId xmlns:a16="http://schemas.microsoft.com/office/drawing/2014/main" id="{7996911B-99E0-AA46-9D5F-688EE4756A24}"/>
              </a:ext>
            </a:extLst>
          </p:cNvPr>
          <p:cNvPicPr>
            <a:picLocks noChangeAspect="1"/>
          </p:cNvPicPr>
          <p:nvPr/>
        </p:nvPicPr>
        <p:blipFill>
          <a:blip r:embed="rId2">
            <a:duotone>
              <a:schemeClr val="accent6">
                <a:shade val="45000"/>
                <a:satMod val="135000"/>
              </a:schemeClr>
              <a:prstClr val="white"/>
            </a:duotone>
            <a:alphaModFix amt="30000"/>
            <a:extLst>
              <a:ext uri="{BEBA8EAE-BF5A-486C-A8C5-ECC9F3942E4B}">
                <a14:imgProps xmlns:a14="http://schemas.microsoft.com/office/drawing/2010/main">
                  <a14:imgLayer r:embed="rId3">
                    <a14:imgEffect>
                      <a14:colorTemperature colorTemp="1500"/>
                    </a14:imgEffect>
                    <a14:imgEffect>
                      <a14:saturation sat="0"/>
                    </a14:imgEffect>
                  </a14:imgLayer>
                </a14:imgProps>
              </a:ext>
            </a:extLst>
          </a:blip>
          <a:stretch>
            <a:fillRect/>
          </a:stretch>
        </p:blipFill>
        <p:spPr>
          <a:xfrm>
            <a:off x="0" y="0"/>
            <a:ext cx="12199171" cy="6858000"/>
          </a:xfrm>
          <a:prstGeom prst="rect">
            <a:avLst/>
          </a:prstGeom>
          <a:solidFill>
            <a:srgbClr val="FFFFFF"/>
          </a:solidFill>
          <a:ln>
            <a:solidFill>
              <a:schemeClr val="bg1"/>
            </a:solidFill>
          </a:ln>
        </p:spPr>
      </p:pic>
      <p:pic>
        <p:nvPicPr>
          <p:cNvPr id="115713" name="Immagine 1">
            <a:extLst>
              <a:ext uri="{FF2B5EF4-FFF2-40B4-BE49-F238E27FC236}">
                <a16:creationId xmlns:a16="http://schemas.microsoft.com/office/drawing/2014/main" id="{BECB0A1B-06B1-9F4C-A6BF-5651C6818C22}"/>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2225466" y="1349380"/>
            <a:ext cx="7812505" cy="5256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5714" name="Rettangolo 2">
            <a:extLst>
              <a:ext uri="{FF2B5EF4-FFF2-40B4-BE49-F238E27FC236}">
                <a16:creationId xmlns:a16="http://schemas.microsoft.com/office/drawing/2014/main" id="{9F65BBD9-9E96-4943-BB79-29F8A6E778E2}"/>
              </a:ext>
            </a:extLst>
          </p:cNvPr>
          <p:cNvSpPr>
            <a:spLocks noChangeArrowheads="1"/>
          </p:cNvSpPr>
          <p:nvPr/>
        </p:nvSpPr>
        <p:spPr bwMode="auto">
          <a:xfrm>
            <a:off x="516982" y="81310"/>
            <a:ext cx="11229474"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1">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r>
              <a:rPr lang="it-IT" altLang="it-IT" sz="3000" dirty="0">
                <a:latin typeface="Century Gothic" panose="020B0502020202020204" pitchFamily="34" charset="0"/>
              </a:rPr>
              <a:t>L’ADERENZA: ALTA, MEDIA, BASSA </a:t>
            </a:r>
          </a:p>
          <a:p>
            <a:pPr algn="ctr" eaLnBrk="1"/>
            <a:r>
              <a:rPr lang="it-IT" altLang="it-IT" sz="3000" dirty="0">
                <a:latin typeface="Century Gothic" panose="020B0502020202020204" pitchFamily="34" charset="0"/>
              </a:rPr>
              <a:t>E COSTI CORRISPONDENTI </a:t>
            </a:r>
          </a:p>
        </p:txBody>
      </p:sp>
      <p:sp>
        <p:nvSpPr>
          <p:cNvPr id="4" name="Oval 10">
            <a:extLst>
              <a:ext uri="{FF2B5EF4-FFF2-40B4-BE49-F238E27FC236}">
                <a16:creationId xmlns:a16="http://schemas.microsoft.com/office/drawing/2014/main" id="{1D99CAC9-A72A-CA4F-BFC0-FBA3BC65AEC2}"/>
              </a:ext>
            </a:extLst>
          </p:cNvPr>
          <p:cNvSpPr>
            <a:spLocks/>
          </p:cNvSpPr>
          <p:nvPr/>
        </p:nvSpPr>
        <p:spPr bwMode="auto">
          <a:xfrm>
            <a:off x="5087937" y="2662989"/>
            <a:ext cx="1008063" cy="2261937"/>
          </a:xfrm>
          <a:custGeom>
            <a:avLst/>
            <a:gdLst>
              <a:gd name="T0" fmla="*/ 504032 w 1008061"/>
              <a:gd name="T1" fmla="*/ 0 h 2447921"/>
              <a:gd name="T2" fmla="*/ 1008063 w 1008061"/>
              <a:gd name="T3" fmla="*/ 1223963 h 2447921"/>
              <a:gd name="T4" fmla="*/ 504032 w 1008061"/>
              <a:gd name="T5" fmla="*/ 2447925 h 2447921"/>
              <a:gd name="T6" fmla="*/ 0 w 1008061"/>
              <a:gd name="T7" fmla="*/ 1223963 h 2447921"/>
              <a:gd name="T8" fmla="*/ 147627 w 1008061"/>
              <a:gd name="T9" fmla="*/ 358491 h 2447921"/>
              <a:gd name="T10" fmla="*/ 147627 w 1008061"/>
              <a:gd name="T11" fmla="*/ 2089434 h 2447921"/>
              <a:gd name="T12" fmla="*/ 860436 w 1008061"/>
              <a:gd name="T13" fmla="*/ 2089434 h 2447921"/>
              <a:gd name="T14" fmla="*/ 860436 w 1008061"/>
              <a:gd name="T15" fmla="*/ 358491 h 2447921"/>
              <a:gd name="T16" fmla="*/ 17694720 60000 65536"/>
              <a:gd name="T17" fmla="*/ 0 60000 65536"/>
              <a:gd name="T18" fmla="*/ 5898240 60000 65536"/>
              <a:gd name="T19" fmla="*/ 11796480 60000 65536"/>
              <a:gd name="T20" fmla="*/ 17694720 60000 65536"/>
              <a:gd name="T21" fmla="*/ 5898240 60000 65536"/>
              <a:gd name="T22" fmla="*/ 5898240 60000 65536"/>
              <a:gd name="T23" fmla="*/ 17694720 60000 65536"/>
              <a:gd name="T24" fmla="*/ 147627 w 1008061"/>
              <a:gd name="T25" fmla="*/ 358490 h 2447921"/>
              <a:gd name="T26" fmla="*/ 860434 w 1008061"/>
              <a:gd name="T27" fmla="*/ 2089431 h 24479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08061" h="2447921">
                <a:moveTo>
                  <a:pt x="0" y="1223961"/>
                </a:moveTo>
                <a:lnTo>
                  <a:pt x="0" y="1223961"/>
                </a:lnTo>
                <a:cubicBezTo>
                  <a:pt x="0" y="1899935"/>
                  <a:pt x="225662" y="2447922"/>
                  <a:pt x="504031" y="2447922"/>
                </a:cubicBezTo>
                <a:cubicBezTo>
                  <a:pt x="782399" y="2447922"/>
                  <a:pt x="1008062" y="1899935"/>
                  <a:pt x="1008062" y="1223961"/>
                </a:cubicBezTo>
                <a:cubicBezTo>
                  <a:pt x="1008062" y="547986"/>
                  <a:pt x="782399" y="0"/>
                  <a:pt x="504031" y="0"/>
                </a:cubicBezTo>
                <a:cubicBezTo>
                  <a:pt x="225662" y="0"/>
                  <a:pt x="0" y="547986"/>
                  <a:pt x="0" y="1223960"/>
                </a:cubicBezTo>
                <a:lnTo>
                  <a:pt x="0" y="1223961"/>
                </a:lnTo>
                <a:close/>
              </a:path>
            </a:pathLst>
          </a:custGeom>
          <a:noFill/>
          <a:ln w="31747" cap="flat">
            <a:solidFill>
              <a:srgbClr val="FF2F92"/>
            </a:solidFill>
            <a:prstDash val="solid"/>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it-IT"/>
          </a:p>
        </p:txBody>
      </p:sp>
      <p:sp>
        <p:nvSpPr>
          <p:cNvPr id="7" name="AutoShape 8"/>
          <p:cNvSpPr>
            <a:spLocks noChangeArrowheads="1"/>
          </p:cNvSpPr>
          <p:nvPr/>
        </p:nvSpPr>
        <p:spPr bwMode="auto">
          <a:xfrm>
            <a:off x="7331860" y="4868863"/>
            <a:ext cx="409575" cy="504825"/>
          </a:xfrm>
          <a:prstGeom prst="upArrow">
            <a:avLst>
              <a:gd name="adj1" fmla="val 57833"/>
              <a:gd name="adj2" fmla="val 96665"/>
            </a:avLst>
          </a:prstGeom>
          <a:solidFill>
            <a:srgbClr val="FF00FF"/>
          </a:solidFill>
          <a:ln w="9525">
            <a:solidFill>
              <a:schemeClr val="tx1"/>
            </a:solidFill>
            <a:miter lim="800000"/>
            <a:headEnd/>
            <a:tailEnd/>
          </a:ln>
        </p:spPr>
        <p:txBody>
          <a:bodyPr wrap="none" anchor="ctr"/>
          <a:lstStyle>
            <a:lvl1pPr>
              <a:spcBef>
                <a:spcPts val="1000"/>
              </a:spcBef>
              <a:buClr>
                <a:srgbClr val="8AD0D6"/>
              </a:buClr>
              <a:buSzPct val="80000"/>
              <a:buFont typeface="Wingdings 3" panose="05040102010807070707" pitchFamily="18" charset="2"/>
              <a:buChar char=""/>
              <a:defRPr sz="2000">
                <a:solidFill>
                  <a:schemeClr val="tx1"/>
                </a:solidFill>
                <a:latin typeface="Century Gothic" panose="020B0502020202020204" pitchFamily="34" charset="0"/>
              </a:defRPr>
            </a:lvl1pPr>
            <a:lvl2pPr marL="742950" indent="-285750">
              <a:spcBef>
                <a:spcPts val="1000"/>
              </a:spcBef>
              <a:buClr>
                <a:srgbClr val="8AD0D6"/>
              </a:buClr>
              <a:buSzPct val="80000"/>
              <a:buFont typeface="Wingdings 3" panose="05040102010807070707" pitchFamily="18" charset="2"/>
              <a:buChar char=""/>
              <a:defRPr>
                <a:solidFill>
                  <a:schemeClr val="tx1"/>
                </a:solidFill>
                <a:latin typeface="Century Gothic" panose="020B0502020202020204" pitchFamily="34" charset="0"/>
              </a:defRPr>
            </a:lvl2pPr>
            <a:lvl3pPr marL="1143000" indent="-228600">
              <a:spcBef>
                <a:spcPts val="1000"/>
              </a:spcBef>
              <a:buClr>
                <a:srgbClr val="8AD0D6"/>
              </a:buClr>
              <a:buSzPct val="80000"/>
              <a:buFont typeface="Wingdings 3" panose="05040102010807070707" pitchFamily="18" charset="2"/>
              <a:buChar char=""/>
              <a:defRPr sz="1600">
                <a:solidFill>
                  <a:schemeClr val="tx1"/>
                </a:solidFill>
                <a:latin typeface="Century Gothic" panose="020B0502020202020204" pitchFamily="34" charset="0"/>
              </a:defRPr>
            </a:lvl3pPr>
            <a:lvl4pPr marL="1600200" indent="-228600">
              <a:spcBef>
                <a:spcPts val="1000"/>
              </a:spcBef>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4pPr>
            <a:lvl5pPr marL="2057400" indent="-228600">
              <a:spcBef>
                <a:spcPts val="1000"/>
              </a:spcBef>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5pPr>
            <a:lvl6pPr marL="25146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6pPr>
            <a:lvl7pPr marL="29718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7pPr>
            <a:lvl8pPr marL="34290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8pPr>
            <a:lvl9pPr marL="38862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9pPr>
          </a:lstStyle>
          <a:p>
            <a:pPr eaLnBrk="1" hangingPunct="1">
              <a:spcBef>
                <a:spcPct val="0"/>
              </a:spcBef>
              <a:buClrTx/>
              <a:buSzTx/>
              <a:buFontTx/>
              <a:buNone/>
            </a:pPr>
            <a:endParaRPr lang="it-IT" sz="1800">
              <a:solidFill>
                <a:srgbClr val="000000"/>
              </a:solidFill>
              <a:latin typeface="Arial" panose="020B0604020202020204" pitchFamily="34" charset="0"/>
            </a:endParaRPr>
          </a:p>
        </p:txBody>
      </p:sp>
    </p:spTree>
    <p:extLst>
      <p:ext uri="{BB962C8B-B14F-4D97-AF65-F5344CB8AC3E}">
        <p14:creationId xmlns:p14="http://schemas.microsoft.com/office/powerpoint/2010/main" val="2187133715"/>
      </p:ext>
    </p:extLst>
  </p:cSld>
  <p:clrMapOvr>
    <a:masterClrMapping/>
  </p:clrMapOvr>
  <p:transition spd="slow"/>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magine 9">
            <a:extLst>
              <a:ext uri="{FF2B5EF4-FFF2-40B4-BE49-F238E27FC236}">
                <a16:creationId xmlns:a16="http://schemas.microsoft.com/office/drawing/2014/main" id="{04919085-2F3E-2544-BE4A-A47523D1B96C}"/>
              </a:ext>
            </a:extLst>
          </p:cNvPr>
          <p:cNvPicPr>
            <a:picLocks noChangeAspect="1"/>
          </p:cNvPicPr>
          <p:nvPr/>
        </p:nvPicPr>
        <p:blipFill>
          <a:blip r:embed="rId2">
            <a:duotone>
              <a:schemeClr val="accent6">
                <a:shade val="45000"/>
                <a:satMod val="135000"/>
              </a:schemeClr>
              <a:prstClr val="white"/>
            </a:duotone>
            <a:alphaModFix amt="30000"/>
            <a:extLst>
              <a:ext uri="{BEBA8EAE-BF5A-486C-A8C5-ECC9F3942E4B}">
                <a14:imgProps xmlns:a14="http://schemas.microsoft.com/office/drawing/2010/main">
                  <a14:imgLayer r:embed="rId3">
                    <a14:imgEffect>
                      <a14:colorTemperature colorTemp="1500"/>
                    </a14:imgEffect>
                    <a14:imgEffect>
                      <a14:saturation sat="0"/>
                    </a14:imgEffect>
                  </a14:imgLayer>
                </a14:imgProps>
              </a:ext>
            </a:extLst>
          </a:blip>
          <a:stretch>
            <a:fillRect/>
          </a:stretch>
        </p:blipFill>
        <p:spPr>
          <a:xfrm>
            <a:off x="0" y="0"/>
            <a:ext cx="12199171" cy="6858000"/>
          </a:xfrm>
          <a:prstGeom prst="rect">
            <a:avLst/>
          </a:prstGeom>
          <a:solidFill>
            <a:srgbClr val="FFFFFF"/>
          </a:solidFill>
          <a:ln>
            <a:solidFill>
              <a:schemeClr val="bg1"/>
            </a:solidFill>
          </a:ln>
        </p:spPr>
      </p:pic>
      <p:pic>
        <p:nvPicPr>
          <p:cNvPr id="116737" name="Picture 3">
            <a:extLst>
              <a:ext uri="{FF2B5EF4-FFF2-40B4-BE49-F238E27FC236}">
                <a16:creationId xmlns:a16="http://schemas.microsoft.com/office/drawing/2014/main" id="{B0C2D30A-FE0F-C344-8479-E7AB9349AD3B}"/>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7179178" y="1121332"/>
            <a:ext cx="3533776" cy="52349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7041" name="Rectangle 2">
            <a:extLst>
              <a:ext uri="{FF2B5EF4-FFF2-40B4-BE49-F238E27FC236}">
                <a16:creationId xmlns:a16="http://schemas.microsoft.com/office/drawing/2014/main" id="{9455448C-16B9-3C40-85D5-A31503F6FF72}"/>
              </a:ext>
            </a:extLst>
          </p:cNvPr>
          <p:cNvSpPr txBox="1">
            <a:spLocks noGrp="1" noChangeArrowheads="1"/>
          </p:cNvSpPr>
          <p:nvPr>
            <p:ph type="title"/>
          </p:nvPr>
        </p:nvSpPr>
        <p:spPr>
          <a:xfrm>
            <a:off x="1640305" y="185737"/>
            <a:ext cx="8911389" cy="777875"/>
          </a:xfrm>
        </p:spPr>
        <p:txBody>
          <a:bodyPr>
            <a:noAutofit/>
          </a:bodyPr>
          <a:lstStyle/>
          <a:p>
            <a:pPr eaLnBrk="1" hangingPunct="1">
              <a:defRPr/>
            </a:pPr>
            <a:r>
              <a:rPr lang="it-IT" altLang="it-IT" sz="2400" b="1" cap="none" dirty="0"/>
              <a:t>…Più che un problema di costi sono le conseguenze </a:t>
            </a:r>
            <a:br>
              <a:rPr lang="it-IT" altLang="it-IT" sz="2400" b="1" cap="none" dirty="0"/>
            </a:br>
            <a:r>
              <a:rPr lang="it-IT" altLang="it-IT" sz="2400" b="1" cap="none" dirty="0"/>
              <a:t>della non aderenza alla terapia</a:t>
            </a:r>
          </a:p>
        </p:txBody>
      </p:sp>
      <p:sp>
        <p:nvSpPr>
          <p:cNvPr id="4" name="Oval 6">
            <a:extLst>
              <a:ext uri="{FF2B5EF4-FFF2-40B4-BE49-F238E27FC236}">
                <a16:creationId xmlns:a16="http://schemas.microsoft.com/office/drawing/2014/main" id="{8AC93854-82C0-564F-B650-6C4A8A6BC322}"/>
              </a:ext>
            </a:extLst>
          </p:cNvPr>
          <p:cNvSpPr>
            <a:spLocks/>
          </p:cNvSpPr>
          <p:nvPr/>
        </p:nvSpPr>
        <p:spPr bwMode="auto">
          <a:xfrm>
            <a:off x="8420100" y="2380959"/>
            <a:ext cx="647700" cy="360363"/>
          </a:xfrm>
          <a:custGeom>
            <a:avLst/>
            <a:gdLst>
              <a:gd name="T0" fmla="*/ 323850 w 647696"/>
              <a:gd name="T1" fmla="*/ 0 h 360365"/>
              <a:gd name="T2" fmla="*/ 647700 w 647696"/>
              <a:gd name="T3" fmla="*/ 180182 h 360365"/>
              <a:gd name="T4" fmla="*/ 323850 w 647696"/>
              <a:gd name="T5" fmla="*/ 360363 h 360365"/>
              <a:gd name="T6" fmla="*/ 0 w 647696"/>
              <a:gd name="T7" fmla="*/ 180182 h 360365"/>
              <a:gd name="T8" fmla="*/ 94854 w 647696"/>
              <a:gd name="T9" fmla="*/ 52774 h 360365"/>
              <a:gd name="T10" fmla="*/ 94854 w 647696"/>
              <a:gd name="T11" fmla="*/ 307589 h 360365"/>
              <a:gd name="T12" fmla="*/ 552846 w 647696"/>
              <a:gd name="T13" fmla="*/ 307589 h 360365"/>
              <a:gd name="T14" fmla="*/ 552846 w 647696"/>
              <a:gd name="T15" fmla="*/ 52774 h 360365"/>
              <a:gd name="T16" fmla="*/ 17694720 60000 65536"/>
              <a:gd name="T17" fmla="*/ 0 60000 65536"/>
              <a:gd name="T18" fmla="*/ 5898240 60000 65536"/>
              <a:gd name="T19" fmla="*/ 11796480 60000 65536"/>
              <a:gd name="T20" fmla="*/ 17694720 60000 65536"/>
              <a:gd name="T21" fmla="*/ 5898240 60000 65536"/>
              <a:gd name="T22" fmla="*/ 5898240 60000 65536"/>
              <a:gd name="T23" fmla="*/ 17694720 60000 65536"/>
              <a:gd name="T24" fmla="*/ 94853 w 647696"/>
              <a:gd name="T25" fmla="*/ 52774 h 360365"/>
              <a:gd name="T26" fmla="*/ 552843 w 647696"/>
              <a:gd name="T27" fmla="*/ 307591 h 36036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47696" h="360365">
                <a:moveTo>
                  <a:pt x="0" y="180183"/>
                </a:moveTo>
                <a:lnTo>
                  <a:pt x="0" y="180183"/>
                </a:lnTo>
                <a:cubicBezTo>
                  <a:pt x="0" y="279695"/>
                  <a:pt x="144991" y="360366"/>
                  <a:pt x="323848" y="360366"/>
                </a:cubicBezTo>
                <a:cubicBezTo>
                  <a:pt x="502704" y="360366"/>
                  <a:pt x="647696" y="279695"/>
                  <a:pt x="647696" y="180183"/>
                </a:cubicBezTo>
                <a:cubicBezTo>
                  <a:pt x="647696" y="80670"/>
                  <a:pt x="502704" y="0"/>
                  <a:pt x="323848" y="0"/>
                </a:cubicBezTo>
                <a:cubicBezTo>
                  <a:pt x="144991" y="0"/>
                  <a:pt x="0" y="80670"/>
                  <a:pt x="0" y="180182"/>
                </a:cubicBezTo>
                <a:lnTo>
                  <a:pt x="0" y="180183"/>
                </a:lnTo>
                <a:close/>
              </a:path>
            </a:pathLst>
          </a:custGeom>
          <a:noFill/>
          <a:ln w="31747" cap="flat">
            <a:solidFill>
              <a:srgbClr val="0096FF"/>
            </a:solidFill>
            <a:prstDash val="solid"/>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it-IT"/>
          </a:p>
        </p:txBody>
      </p:sp>
      <p:sp>
        <p:nvSpPr>
          <p:cNvPr id="5" name="Oval 7">
            <a:extLst>
              <a:ext uri="{FF2B5EF4-FFF2-40B4-BE49-F238E27FC236}">
                <a16:creationId xmlns:a16="http://schemas.microsoft.com/office/drawing/2014/main" id="{723A385C-6E1D-AC4A-BA46-A1D1F39FDB4C}"/>
              </a:ext>
            </a:extLst>
          </p:cNvPr>
          <p:cNvSpPr>
            <a:spLocks/>
          </p:cNvSpPr>
          <p:nvPr/>
        </p:nvSpPr>
        <p:spPr bwMode="auto">
          <a:xfrm>
            <a:off x="9067800" y="6066598"/>
            <a:ext cx="1760621" cy="360363"/>
          </a:xfrm>
          <a:custGeom>
            <a:avLst/>
            <a:gdLst>
              <a:gd name="T0" fmla="*/ 1021557 w 2043117"/>
              <a:gd name="T1" fmla="*/ 0 h 360365"/>
              <a:gd name="T2" fmla="*/ 2043113 w 2043117"/>
              <a:gd name="T3" fmla="*/ 180182 h 360365"/>
              <a:gd name="T4" fmla="*/ 1021557 w 2043117"/>
              <a:gd name="T5" fmla="*/ 360363 h 360365"/>
              <a:gd name="T6" fmla="*/ 0 w 2043117"/>
              <a:gd name="T7" fmla="*/ 180182 h 360365"/>
              <a:gd name="T8" fmla="*/ 299207 w 2043117"/>
              <a:gd name="T9" fmla="*/ 52774 h 360365"/>
              <a:gd name="T10" fmla="*/ 299207 w 2043117"/>
              <a:gd name="T11" fmla="*/ 307589 h 360365"/>
              <a:gd name="T12" fmla="*/ 1743906 w 2043117"/>
              <a:gd name="T13" fmla="*/ 307589 h 360365"/>
              <a:gd name="T14" fmla="*/ 1743906 w 2043117"/>
              <a:gd name="T15" fmla="*/ 52774 h 360365"/>
              <a:gd name="T16" fmla="*/ 17694720 60000 65536"/>
              <a:gd name="T17" fmla="*/ 0 60000 65536"/>
              <a:gd name="T18" fmla="*/ 5898240 60000 65536"/>
              <a:gd name="T19" fmla="*/ 11796480 60000 65536"/>
              <a:gd name="T20" fmla="*/ 17694720 60000 65536"/>
              <a:gd name="T21" fmla="*/ 5898240 60000 65536"/>
              <a:gd name="T22" fmla="*/ 5898240 60000 65536"/>
              <a:gd name="T23" fmla="*/ 17694720 60000 65536"/>
              <a:gd name="T24" fmla="*/ 299208 w 2043117"/>
              <a:gd name="T25" fmla="*/ 52774 h 360365"/>
              <a:gd name="T26" fmla="*/ 1743909 w 2043117"/>
              <a:gd name="T27" fmla="*/ 307591 h 36036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43117" h="360365">
                <a:moveTo>
                  <a:pt x="0" y="180183"/>
                </a:moveTo>
                <a:lnTo>
                  <a:pt x="0" y="180183"/>
                </a:lnTo>
                <a:cubicBezTo>
                  <a:pt x="0" y="279695"/>
                  <a:pt x="457367" y="360366"/>
                  <a:pt x="1021558" y="360366"/>
                </a:cubicBezTo>
                <a:cubicBezTo>
                  <a:pt x="1585748" y="360366"/>
                  <a:pt x="2043116" y="279695"/>
                  <a:pt x="2043116" y="180183"/>
                </a:cubicBezTo>
                <a:cubicBezTo>
                  <a:pt x="2043116" y="80670"/>
                  <a:pt x="1585748" y="0"/>
                  <a:pt x="1021558" y="0"/>
                </a:cubicBezTo>
                <a:cubicBezTo>
                  <a:pt x="457367" y="0"/>
                  <a:pt x="0" y="80670"/>
                  <a:pt x="0" y="180182"/>
                </a:cubicBezTo>
                <a:lnTo>
                  <a:pt x="0" y="180183"/>
                </a:lnTo>
                <a:close/>
              </a:path>
            </a:pathLst>
          </a:custGeom>
          <a:noFill/>
          <a:ln w="31747" cap="flat">
            <a:solidFill>
              <a:srgbClr val="0096FF"/>
            </a:solidFill>
            <a:prstDash val="solid"/>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it-IT"/>
          </a:p>
        </p:txBody>
      </p:sp>
      <p:sp>
        <p:nvSpPr>
          <p:cNvPr id="6" name="Oval 10">
            <a:extLst>
              <a:ext uri="{FF2B5EF4-FFF2-40B4-BE49-F238E27FC236}">
                <a16:creationId xmlns:a16="http://schemas.microsoft.com/office/drawing/2014/main" id="{B07784F0-E39C-E849-B444-45F785BA8D3A}"/>
              </a:ext>
            </a:extLst>
          </p:cNvPr>
          <p:cNvSpPr>
            <a:spLocks/>
          </p:cNvSpPr>
          <p:nvPr/>
        </p:nvSpPr>
        <p:spPr bwMode="auto">
          <a:xfrm>
            <a:off x="8181474" y="6066599"/>
            <a:ext cx="832267" cy="360362"/>
          </a:xfrm>
          <a:custGeom>
            <a:avLst/>
            <a:gdLst>
              <a:gd name="T0" fmla="*/ 544513 w 1089022"/>
              <a:gd name="T1" fmla="*/ 0 h 360365"/>
              <a:gd name="T2" fmla="*/ 1089025 w 1089022"/>
              <a:gd name="T3" fmla="*/ 180182 h 360365"/>
              <a:gd name="T4" fmla="*/ 544513 w 1089022"/>
              <a:gd name="T5" fmla="*/ 360363 h 360365"/>
              <a:gd name="T6" fmla="*/ 0 w 1089022"/>
              <a:gd name="T7" fmla="*/ 180182 h 360365"/>
              <a:gd name="T8" fmla="*/ 159484 w 1089022"/>
              <a:gd name="T9" fmla="*/ 52774 h 360365"/>
              <a:gd name="T10" fmla="*/ 159484 w 1089022"/>
              <a:gd name="T11" fmla="*/ 307589 h 360365"/>
              <a:gd name="T12" fmla="*/ 929541 w 1089022"/>
              <a:gd name="T13" fmla="*/ 307589 h 360365"/>
              <a:gd name="T14" fmla="*/ 929541 w 1089022"/>
              <a:gd name="T15" fmla="*/ 52774 h 360365"/>
              <a:gd name="T16" fmla="*/ 17694720 60000 65536"/>
              <a:gd name="T17" fmla="*/ 0 60000 65536"/>
              <a:gd name="T18" fmla="*/ 5898240 60000 65536"/>
              <a:gd name="T19" fmla="*/ 11796480 60000 65536"/>
              <a:gd name="T20" fmla="*/ 17694720 60000 65536"/>
              <a:gd name="T21" fmla="*/ 5898240 60000 65536"/>
              <a:gd name="T22" fmla="*/ 5898240 60000 65536"/>
              <a:gd name="T23" fmla="*/ 17694720 60000 65536"/>
              <a:gd name="T24" fmla="*/ 159484 w 1089022"/>
              <a:gd name="T25" fmla="*/ 52774 h 360365"/>
              <a:gd name="T26" fmla="*/ 929538 w 1089022"/>
              <a:gd name="T27" fmla="*/ 307591 h 36036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89022" h="360365">
                <a:moveTo>
                  <a:pt x="0" y="180183"/>
                </a:moveTo>
                <a:lnTo>
                  <a:pt x="0" y="180183"/>
                </a:lnTo>
                <a:cubicBezTo>
                  <a:pt x="0" y="279695"/>
                  <a:pt x="243785" y="360366"/>
                  <a:pt x="544511" y="360366"/>
                </a:cubicBezTo>
                <a:cubicBezTo>
                  <a:pt x="845236" y="360366"/>
                  <a:pt x="1089022" y="279695"/>
                  <a:pt x="1089022" y="180183"/>
                </a:cubicBezTo>
                <a:cubicBezTo>
                  <a:pt x="1089022" y="80670"/>
                  <a:pt x="845236" y="0"/>
                  <a:pt x="544511" y="0"/>
                </a:cubicBezTo>
                <a:cubicBezTo>
                  <a:pt x="243785" y="0"/>
                  <a:pt x="0" y="80670"/>
                  <a:pt x="0" y="180182"/>
                </a:cubicBezTo>
                <a:lnTo>
                  <a:pt x="0" y="180183"/>
                </a:lnTo>
                <a:close/>
              </a:path>
            </a:pathLst>
          </a:custGeom>
          <a:noFill/>
          <a:ln w="31747" cap="flat">
            <a:solidFill>
              <a:srgbClr val="FF2F92"/>
            </a:solidFill>
            <a:prstDash val="solid"/>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it-IT"/>
          </a:p>
        </p:txBody>
      </p:sp>
      <p:graphicFrame>
        <p:nvGraphicFramePr>
          <p:cNvPr id="7" name="Tabella 5">
            <a:extLst>
              <a:ext uri="{FF2B5EF4-FFF2-40B4-BE49-F238E27FC236}">
                <a16:creationId xmlns:a16="http://schemas.microsoft.com/office/drawing/2014/main" id="{63D0A8CC-AFDB-A04A-8805-889EDB62D01F}"/>
              </a:ext>
            </a:extLst>
          </p:cNvPr>
          <p:cNvGraphicFramePr>
            <a:graphicFrameLocks noGrp="1"/>
          </p:cNvGraphicFramePr>
          <p:nvPr>
            <p:extLst>
              <p:ext uri="{D42A27DB-BD31-4B8C-83A1-F6EECF244321}">
                <p14:modId xmlns:p14="http://schemas.microsoft.com/office/powerpoint/2010/main" val="3334365696"/>
              </p:ext>
            </p:extLst>
          </p:nvPr>
        </p:nvGraphicFramePr>
        <p:xfrm>
          <a:off x="657726" y="1149350"/>
          <a:ext cx="6046286" cy="5567348"/>
        </p:xfrm>
        <a:graphic>
          <a:graphicData uri="http://schemas.openxmlformats.org/drawingml/2006/table">
            <a:tbl>
              <a:tblPr firstRow="1" firstCol="1" bandRow="1">
                <a:effectLst/>
              </a:tblPr>
              <a:tblGrid>
                <a:gridCol w="2629692">
                  <a:extLst>
                    <a:ext uri="{9D8B030D-6E8A-4147-A177-3AD203B41FA5}">
                      <a16:colId xmlns:a16="http://schemas.microsoft.com/office/drawing/2014/main" val="20000"/>
                    </a:ext>
                  </a:extLst>
                </a:gridCol>
                <a:gridCol w="3416594">
                  <a:extLst>
                    <a:ext uri="{9D8B030D-6E8A-4147-A177-3AD203B41FA5}">
                      <a16:colId xmlns:a16="http://schemas.microsoft.com/office/drawing/2014/main" val="20001"/>
                    </a:ext>
                  </a:extLst>
                </a:gridCol>
              </a:tblGrid>
              <a:tr h="692590">
                <a:tc>
                  <a:txBody>
                    <a:bodyPr/>
                    <a:lstStyle/>
                    <a:p>
                      <a:pPr lvl="0" algn="ctr">
                        <a:lnSpc>
                          <a:spcPct val="115000"/>
                        </a:lnSpc>
                        <a:spcAft>
                          <a:spcPts val="0"/>
                        </a:spcAft>
                      </a:pPr>
                      <a:r>
                        <a:rPr lang="it-IT" sz="1400" b="1" dirty="0">
                          <a:latin typeface="+mn-lt"/>
                          <a:ea typeface="Calibri" pitchFamily="34"/>
                          <a:cs typeface="Times New Roman" pitchFamily="18"/>
                        </a:rPr>
                        <a:t> </a:t>
                      </a:r>
                      <a:endParaRPr lang="it-IT" sz="1400" dirty="0">
                        <a:latin typeface="+mn-lt"/>
                        <a:ea typeface="Calibri" pitchFamily="34"/>
                        <a:cs typeface="Times New Roman" pitchFamily="18"/>
                      </a:endParaRPr>
                    </a:p>
                    <a:p>
                      <a:pPr lvl="0" algn="ctr">
                        <a:lnSpc>
                          <a:spcPct val="115000"/>
                        </a:lnSpc>
                        <a:spcAft>
                          <a:spcPts val="0"/>
                        </a:spcAft>
                      </a:pPr>
                      <a:r>
                        <a:rPr lang="it-IT" sz="1400" b="1" dirty="0">
                          <a:latin typeface="+mn-lt"/>
                          <a:ea typeface="Calibri" pitchFamily="34"/>
                          <a:cs typeface="Times New Roman" pitchFamily="18"/>
                        </a:rPr>
                        <a:t>DISEASE</a:t>
                      </a:r>
                      <a:endParaRPr lang="it-IT" sz="1400" dirty="0">
                        <a:latin typeface="+mn-lt"/>
                        <a:ea typeface="Calibri" pitchFamily="34"/>
                        <a:cs typeface="Times New Roman" pitchFamily="18"/>
                      </a:endParaRPr>
                    </a:p>
                    <a:p>
                      <a:pPr lvl="0" algn="ctr">
                        <a:lnSpc>
                          <a:spcPct val="115000"/>
                        </a:lnSpc>
                        <a:spcAft>
                          <a:spcPts val="0"/>
                        </a:spcAft>
                      </a:pPr>
                      <a:r>
                        <a:rPr lang="it-IT" sz="1400" b="1" dirty="0">
                          <a:latin typeface="+mn-lt"/>
                          <a:ea typeface="Calibri" pitchFamily="34"/>
                          <a:cs typeface="Times New Roman" pitchFamily="18"/>
                        </a:rPr>
                        <a:t> </a:t>
                      </a:r>
                      <a:endParaRPr lang="it-IT" sz="1400" dirty="0">
                        <a:latin typeface="+mn-lt"/>
                        <a:ea typeface="Calibri" pitchFamily="34"/>
                        <a:cs typeface="Times New Roman" pitchFamily="18"/>
                      </a:endParaRPr>
                    </a:p>
                  </a:txBody>
                  <a:tcPr marL="68580" marR="68580" marT="0" marB="0" anchor="ctr">
                    <a:lnL w="12701" cap="flat" cmpd="sng" algn="ctr">
                      <a:solidFill>
                        <a:srgbClr val="000000"/>
                      </a:solidFill>
                      <a:prstDash val="solid"/>
                      <a:round/>
                      <a:headEnd type="none" w="med" len="med"/>
                      <a:tailEnd type="none" w="med" len="med"/>
                    </a:lnL>
                    <a:lnR w="12701" cap="flat" cmpd="sng" algn="ctr">
                      <a:solidFill>
                        <a:srgbClr val="000000"/>
                      </a:solidFill>
                      <a:prstDash val="solid"/>
                      <a:round/>
                      <a:headEnd type="none" w="med" len="med"/>
                      <a:tailEnd type="none" w="med" len="med"/>
                    </a:lnR>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solidFill>
                      <a:srgbClr val="FFFFFF"/>
                    </a:solidFill>
                  </a:tcPr>
                </a:tc>
                <a:tc>
                  <a:txBody>
                    <a:bodyPr/>
                    <a:lstStyle/>
                    <a:p>
                      <a:pPr lvl="0" algn="ctr">
                        <a:lnSpc>
                          <a:spcPct val="115000"/>
                        </a:lnSpc>
                        <a:spcAft>
                          <a:spcPts val="0"/>
                        </a:spcAft>
                      </a:pPr>
                      <a:r>
                        <a:rPr lang="en-US" sz="1200" b="1" dirty="0">
                          <a:latin typeface="+mn-lt"/>
                          <a:ea typeface="Calibri" pitchFamily="34"/>
                          <a:cs typeface="Times New Roman" pitchFamily="18"/>
                        </a:rPr>
                        <a:t> </a:t>
                      </a:r>
                      <a:endParaRPr lang="it-IT" sz="1200" dirty="0">
                        <a:latin typeface="+mn-lt"/>
                        <a:ea typeface="Calibri" pitchFamily="34"/>
                        <a:cs typeface="Times New Roman" pitchFamily="18"/>
                      </a:endParaRPr>
                    </a:p>
                    <a:p>
                      <a:pPr lvl="0" algn="ctr">
                        <a:lnSpc>
                          <a:spcPct val="115000"/>
                        </a:lnSpc>
                        <a:spcAft>
                          <a:spcPts val="0"/>
                        </a:spcAft>
                      </a:pPr>
                      <a:r>
                        <a:rPr lang="en-US" sz="1200" b="1" dirty="0">
                          <a:latin typeface="+mn-lt"/>
                          <a:ea typeface="Calibri" pitchFamily="34"/>
                          <a:cs typeface="Times New Roman" pitchFamily="18"/>
                        </a:rPr>
                        <a:t>COMPLICATION AS A RESULT OF NON ADHERENCE</a:t>
                      </a:r>
                      <a:endParaRPr lang="it-IT" sz="1200" dirty="0">
                        <a:latin typeface="+mn-lt"/>
                        <a:ea typeface="Calibri" pitchFamily="34"/>
                        <a:cs typeface="Times New Roman" pitchFamily="18"/>
                      </a:endParaRPr>
                    </a:p>
                  </a:txBody>
                  <a:tcPr marL="68580" marR="68580" marT="0" marB="0" anchor="ctr">
                    <a:lnL w="12701" cap="flat" cmpd="sng" algn="ctr">
                      <a:solidFill>
                        <a:srgbClr val="000000"/>
                      </a:solidFill>
                      <a:prstDash val="solid"/>
                      <a:round/>
                      <a:headEnd type="none" w="med" len="med"/>
                      <a:tailEnd type="none" w="med" len="med"/>
                    </a:lnL>
                    <a:lnR w="12701" cap="flat" cmpd="sng" algn="ctr">
                      <a:solidFill>
                        <a:srgbClr val="000000"/>
                      </a:solidFill>
                      <a:prstDash val="solid"/>
                      <a:round/>
                      <a:headEnd type="none" w="med" len="med"/>
                      <a:tailEnd type="none" w="med" len="med"/>
                    </a:lnR>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0"/>
                  </a:ext>
                </a:extLst>
              </a:tr>
              <a:tr h="692713">
                <a:tc>
                  <a:txBody>
                    <a:bodyPr/>
                    <a:lstStyle/>
                    <a:p>
                      <a:pPr lvl="0" algn="ctr">
                        <a:lnSpc>
                          <a:spcPct val="115000"/>
                        </a:lnSpc>
                        <a:spcAft>
                          <a:spcPts val="0"/>
                        </a:spcAft>
                      </a:pPr>
                      <a:r>
                        <a:rPr lang="en-US" sz="1400" dirty="0">
                          <a:solidFill>
                            <a:srgbClr val="000000"/>
                          </a:solidFill>
                          <a:latin typeface="+mn-lt"/>
                          <a:ea typeface="Calibri" pitchFamily="34"/>
                          <a:cs typeface="Times New Roman" pitchFamily="18"/>
                        </a:rPr>
                        <a:t> </a:t>
                      </a:r>
                      <a:endParaRPr lang="it-IT" sz="1400" dirty="0">
                        <a:solidFill>
                          <a:srgbClr val="000000"/>
                        </a:solidFill>
                        <a:latin typeface="+mn-lt"/>
                        <a:ea typeface="Calibri" pitchFamily="34"/>
                        <a:cs typeface="Times New Roman" pitchFamily="18"/>
                      </a:endParaRPr>
                    </a:p>
                    <a:p>
                      <a:pPr lvl="0" algn="ctr">
                        <a:lnSpc>
                          <a:spcPct val="115000"/>
                        </a:lnSpc>
                        <a:spcAft>
                          <a:spcPts val="0"/>
                        </a:spcAft>
                      </a:pPr>
                      <a:r>
                        <a:rPr lang="en-US" sz="1400" dirty="0">
                          <a:solidFill>
                            <a:srgbClr val="000000"/>
                          </a:solidFill>
                          <a:latin typeface="+mn-lt"/>
                          <a:ea typeface="Calibri" pitchFamily="34"/>
                          <a:cs typeface="Times New Roman" pitchFamily="18"/>
                        </a:rPr>
                        <a:t>Hypercholesterolemia</a:t>
                      </a:r>
                      <a:endParaRPr lang="it-IT" sz="1400" dirty="0">
                        <a:solidFill>
                          <a:srgbClr val="000000"/>
                        </a:solidFill>
                        <a:latin typeface="+mn-lt"/>
                        <a:ea typeface="Calibri" pitchFamily="34"/>
                        <a:cs typeface="Times New Roman" pitchFamily="18"/>
                      </a:endParaRPr>
                    </a:p>
                    <a:p>
                      <a:pPr lvl="0" algn="ctr">
                        <a:lnSpc>
                          <a:spcPct val="115000"/>
                        </a:lnSpc>
                        <a:spcAft>
                          <a:spcPts val="0"/>
                        </a:spcAft>
                      </a:pPr>
                      <a:r>
                        <a:rPr lang="en-US" sz="1400" dirty="0">
                          <a:solidFill>
                            <a:srgbClr val="000000"/>
                          </a:solidFill>
                          <a:latin typeface="+mn-lt"/>
                          <a:ea typeface="Calibri" pitchFamily="34"/>
                          <a:cs typeface="Times New Roman" pitchFamily="18"/>
                        </a:rPr>
                        <a:t> </a:t>
                      </a:r>
                      <a:endParaRPr lang="it-IT" sz="1400" dirty="0">
                        <a:solidFill>
                          <a:srgbClr val="000000"/>
                        </a:solidFill>
                        <a:latin typeface="+mn-lt"/>
                        <a:ea typeface="Calibri" pitchFamily="34"/>
                        <a:cs typeface="Times New Roman" pitchFamily="18"/>
                      </a:endParaRPr>
                    </a:p>
                  </a:txBody>
                  <a:tcPr marL="68580" marR="68580" marT="0" marB="0" anchor="ctr">
                    <a:lnL w="12701" cap="flat" cmpd="sng" algn="ctr">
                      <a:solidFill>
                        <a:srgbClr val="000000"/>
                      </a:solidFill>
                      <a:prstDash val="solid"/>
                      <a:round/>
                      <a:headEnd type="none" w="med" len="med"/>
                      <a:tailEnd type="none" w="med" len="med"/>
                    </a:lnL>
                    <a:lnR w="12701" cap="flat" cmpd="sng" algn="ctr">
                      <a:solidFill>
                        <a:srgbClr val="000000"/>
                      </a:solidFill>
                      <a:prstDash val="solid"/>
                      <a:round/>
                      <a:headEnd type="none" w="med" len="med"/>
                      <a:tailEnd type="none" w="med" len="med"/>
                    </a:lnR>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solidFill>
                      <a:srgbClr val="FFFFFF"/>
                    </a:solidFill>
                  </a:tcPr>
                </a:tc>
                <a:tc>
                  <a:txBody>
                    <a:bodyPr/>
                    <a:lstStyle/>
                    <a:p>
                      <a:pPr lvl="0" algn="ctr">
                        <a:lnSpc>
                          <a:spcPct val="115000"/>
                        </a:lnSpc>
                        <a:spcAft>
                          <a:spcPts val="0"/>
                        </a:spcAft>
                      </a:pPr>
                      <a:r>
                        <a:rPr lang="en-US" sz="1200" dirty="0">
                          <a:solidFill>
                            <a:srgbClr val="000000"/>
                          </a:solidFill>
                          <a:latin typeface="+mn-lt"/>
                          <a:ea typeface="Calibri" pitchFamily="34"/>
                          <a:cs typeface="Times New Roman" pitchFamily="18"/>
                        </a:rPr>
                        <a:t>Acute myocardial infarction</a:t>
                      </a:r>
                      <a:endParaRPr lang="it-IT" sz="1200" dirty="0">
                        <a:solidFill>
                          <a:srgbClr val="000000"/>
                        </a:solidFill>
                        <a:latin typeface="+mn-lt"/>
                        <a:ea typeface="Calibri" pitchFamily="34"/>
                        <a:cs typeface="Times New Roman" pitchFamily="18"/>
                      </a:endParaRPr>
                    </a:p>
                  </a:txBody>
                  <a:tcPr marL="68580" marR="68580" marT="0" marB="0" anchor="ctr">
                    <a:lnL w="12701" cap="flat" cmpd="sng" algn="ctr">
                      <a:solidFill>
                        <a:srgbClr val="000000"/>
                      </a:solidFill>
                      <a:prstDash val="solid"/>
                      <a:round/>
                      <a:headEnd type="none" w="med" len="med"/>
                      <a:tailEnd type="none" w="med" len="med"/>
                    </a:lnL>
                    <a:lnR w="12701" cap="flat" cmpd="sng" algn="ctr">
                      <a:solidFill>
                        <a:srgbClr val="000000"/>
                      </a:solidFill>
                      <a:prstDash val="solid"/>
                      <a:round/>
                      <a:headEnd type="none" w="med" len="med"/>
                      <a:tailEnd type="none" w="med" len="med"/>
                    </a:lnR>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692713">
                <a:tc>
                  <a:txBody>
                    <a:bodyPr/>
                    <a:lstStyle/>
                    <a:p>
                      <a:pPr lvl="0" algn="ctr">
                        <a:lnSpc>
                          <a:spcPct val="115000"/>
                        </a:lnSpc>
                        <a:spcAft>
                          <a:spcPts val="0"/>
                        </a:spcAft>
                      </a:pPr>
                      <a:r>
                        <a:rPr lang="en-US" sz="1400" dirty="0">
                          <a:solidFill>
                            <a:srgbClr val="000000"/>
                          </a:solidFill>
                          <a:latin typeface="+mn-lt"/>
                          <a:ea typeface="Calibri" pitchFamily="34"/>
                          <a:cs typeface="Times New Roman" pitchFamily="18"/>
                        </a:rPr>
                        <a:t> </a:t>
                      </a:r>
                      <a:endParaRPr lang="it-IT" sz="1400" dirty="0">
                        <a:solidFill>
                          <a:srgbClr val="000000"/>
                        </a:solidFill>
                        <a:latin typeface="+mn-lt"/>
                        <a:ea typeface="Calibri" pitchFamily="34"/>
                        <a:cs typeface="Times New Roman" pitchFamily="18"/>
                      </a:endParaRPr>
                    </a:p>
                    <a:p>
                      <a:pPr lvl="0" algn="ctr">
                        <a:lnSpc>
                          <a:spcPct val="115000"/>
                        </a:lnSpc>
                        <a:spcAft>
                          <a:spcPts val="0"/>
                        </a:spcAft>
                      </a:pPr>
                      <a:r>
                        <a:rPr lang="en-US" sz="1400" dirty="0">
                          <a:solidFill>
                            <a:srgbClr val="000000"/>
                          </a:solidFill>
                          <a:latin typeface="+mn-lt"/>
                          <a:ea typeface="Calibri" pitchFamily="34"/>
                          <a:cs typeface="Times New Roman" pitchFamily="18"/>
                        </a:rPr>
                        <a:t>Diabetes</a:t>
                      </a:r>
                      <a:endParaRPr lang="it-IT" sz="1400" dirty="0">
                        <a:solidFill>
                          <a:srgbClr val="000000"/>
                        </a:solidFill>
                        <a:latin typeface="+mn-lt"/>
                        <a:ea typeface="Calibri" pitchFamily="34"/>
                        <a:cs typeface="Times New Roman" pitchFamily="18"/>
                      </a:endParaRPr>
                    </a:p>
                    <a:p>
                      <a:pPr lvl="0" algn="ctr">
                        <a:lnSpc>
                          <a:spcPct val="115000"/>
                        </a:lnSpc>
                        <a:spcAft>
                          <a:spcPts val="0"/>
                        </a:spcAft>
                      </a:pPr>
                      <a:r>
                        <a:rPr lang="en-US" sz="1400" dirty="0">
                          <a:solidFill>
                            <a:srgbClr val="000000"/>
                          </a:solidFill>
                          <a:latin typeface="+mn-lt"/>
                          <a:ea typeface="Calibri" pitchFamily="34"/>
                          <a:cs typeface="Times New Roman" pitchFamily="18"/>
                        </a:rPr>
                        <a:t> </a:t>
                      </a:r>
                      <a:endParaRPr lang="it-IT" sz="1400" dirty="0">
                        <a:solidFill>
                          <a:srgbClr val="000000"/>
                        </a:solidFill>
                        <a:latin typeface="+mn-lt"/>
                        <a:ea typeface="Calibri" pitchFamily="34"/>
                        <a:cs typeface="Times New Roman" pitchFamily="18"/>
                      </a:endParaRPr>
                    </a:p>
                  </a:txBody>
                  <a:tcPr marL="68580" marR="68580" marT="0" marB="0" anchor="ctr">
                    <a:lnL w="12701" cap="flat" cmpd="sng" algn="ctr">
                      <a:solidFill>
                        <a:srgbClr val="000000"/>
                      </a:solidFill>
                      <a:prstDash val="solid"/>
                      <a:round/>
                      <a:headEnd type="none" w="med" len="med"/>
                      <a:tailEnd type="none" w="med" len="med"/>
                    </a:lnL>
                    <a:lnR w="12701" cap="flat" cmpd="sng" algn="ctr">
                      <a:solidFill>
                        <a:srgbClr val="000000"/>
                      </a:solidFill>
                      <a:prstDash val="solid"/>
                      <a:round/>
                      <a:headEnd type="none" w="med" len="med"/>
                      <a:tailEnd type="none" w="med" len="med"/>
                    </a:lnR>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solidFill>
                      <a:srgbClr val="FFFFFF"/>
                    </a:solidFill>
                  </a:tcPr>
                </a:tc>
                <a:tc>
                  <a:txBody>
                    <a:bodyPr/>
                    <a:lstStyle/>
                    <a:p>
                      <a:pPr lvl="0" algn="ctr">
                        <a:lnSpc>
                          <a:spcPct val="115000"/>
                        </a:lnSpc>
                        <a:spcAft>
                          <a:spcPts val="0"/>
                        </a:spcAft>
                      </a:pPr>
                      <a:r>
                        <a:rPr lang="en-US" sz="1200" dirty="0">
                          <a:solidFill>
                            <a:srgbClr val="000000"/>
                          </a:solidFill>
                          <a:latin typeface="+mn-lt"/>
                          <a:ea typeface="Calibri" pitchFamily="34"/>
                          <a:cs typeface="Times New Roman" pitchFamily="18"/>
                        </a:rPr>
                        <a:t>Stroke</a:t>
                      </a:r>
                      <a:endParaRPr lang="it-IT" sz="1200" dirty="0">
                        <a:solidFill>
                          <a:srgbClr val="000000"/>
                        </a:solidFill>
                        <a:latin typeface="+mn-lt"/>
                        <a:ea typeface="Calibri" pitchFamily="34"/>
                        <a:cs typeface="Times New Roman" pitchFamily="18"/>
                      </a:endParaRPr>
                    </a:p>
                  </a:txBody>
                  <a:tcPr marL="68580" marR="68580" marT="0" marB="0" anchor="ctr">
                    <a:lnL w="12701" cap="flat" cmpd="sng" algn="ctr">
                      <a:solidFill>
                        <a:srgbClr val="000000"/>
                      </a:solidFill>
                      <a:prstDash val="solid"/>
                      <a:round/>
                      <a:headEnd type="none" w="med" len="med"/>
                      <a:tailEnd type="none" w="med" len="med"/>
                    </a:lnL>
                    <a:lnR w="12701" cap="flat" cmpd="sng" algn="ctr">
                      <a:solidFill>
                        <a:srgbClr val="000000"/>
                      </a:solidFill>
                      <a:prstDash val="solid"/>
                      <a:round/>
                      <a:headEnd type="none" w="med" len="med"/>
                      <a:tailEnd type="none" w="med" len="med"/>
                    </a:lnR>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692713">
                <a:tc>
                  <a:txBody>
                    <a:bodyPr/>
                    <a:lstStyle/>
                    <a:p>
                      <a:pPr lvl="0" algn="ctr">
                        <a:lnSpc>
                          <a:spcPct val="115000"/>
                        </a:lnSpc>
                        <a:spcAft>
                          <a:spcPts val="0"/>
                        </a:spcAft>
                      </a:pPr>
                      <a:r>
                        <a:rPr lang="en-US" sz="1400" dirty="0">
                          <a:solidFill>
                            <a:srgbClr val="000000"/>
                          </a:solidFill>
                          <a:latin typeface="+mn-lt"/>
                          <a:ea typeface="Calibri" pitchFamily="34"/>
                          <a:cs typeface="Times New Roman" pitchFamily="18"/>
                        </a:rPr>
                        <a:t> </a:t>
                      </a:r>
                      <a:endParaRPr lang="it-IT" sz="1400" dirty="0">
                        <a:solidFill>
                          <a:srgbClr val="000000"/>
                        </a:solidFill>
                        <a:latin typeface="+mn-lt"/>
                        <a:ea typeface="Calibri" pitchFamily="34"/>
                        <a:cs typeface="Times New Roman" pitchFamily="18"/>
                      </a:endParaRPr>
                    </a:p>
                    <a:p>
                      <a:pPr lvl="0" algn="ctr">
                        <a:lnSpc>
                          <a:spcPct val="115000"/>
                        </a:lnSpc>
                        <a:spcAft>
                          <a:spcPts val="0"/>
                        </a:spcAft>
                      </a:pPr>
                      <a:r>
                        <a:rPr lang="en-US" sz="1400" dirty="0">
                          <a:solidFill>
                            <a:srgbClr val="000000"/>
                          </a:solidFill>
                          <a:latin typeface="+mn-lt"/>
                          <a:ea typeface="Calibri" pitchFamily="34"/>
                          <a:cs typeface="Times New Roman" pitchFamily="18"/>
                        </a:rPr>
                        <a:t>Hypertension</a:t>
                      </a:r>
                      <a:endParaRPr lang="it-IT" sz="1400" dirty="0">
                        <a:solidFill>
                          <a:srgbClr val="000000"/>
                        </a:solidFill>
                        <a:latin typeface="+mn-lt"/>
                        <a:ea typeface="Calibri" pitchFamily="34"/>
                        <a:cs typeface="Times New Roman" pitchFamily="18"/>
                      </a:endParaRPr>
                    </a:p>
                    <a:p>
                      <a:pPr lvl="0" algn="ctr">
                        <a:lnSpc>
                          <a:spcPct val="115000"/>
                        </a:lnSpc>
                        <a:spcAft>
                          <a:spcPts val="0"/>
                        </a:spcAft>
                      </a:pPr>
                      <a:r>
                        <a:rPr lang="en-US" sz="1400" dirty="0">
                          <a:solidFill>
                            <a:srgbClr val="000000"/>
                          </a:solidFill>
                          <a:latin typeface="+mn-lt"/>
                          <a:ea typeface="Calibri" pitchFamily="34"/>
                          <a:cs typeface="Times New Roman" pitchFamily="18"/>
                        </a:rPr>
                        <a:t> </a:t>
                      </a:r>
                      <a:endParaRPr lang="it-IT" sz="1400" dirty="0">
                        <a:solidFill>
                          <a:srgbClr val="000000"/>
                        </a:solidFill>
                        <a:latin typeface="+mn-lt"/>
                        <a:ea typeface="Calibri" pitchFamily="34"/>
                        <a:cs typeface="Times New Roman" pitchFamily="18"/>
                      </a:endParaRPr>
                    </a:p>
                  </a:txBody>
                  <a:tcPr marL="68580" marR="68580" marT="0" marB="0" anchor="ctr">
                    <a:lnL w="12701" cap="flat" cmpd="sng" algn="ctr">
                      <a:solidFill>
                        <a:srgbClr val="000000"/>
                      </a:solidFill>
                      <a:prstDash val="solid"/>
                      <a:round/>
                      <a:headEnd type="none" w="med" len="med"/>
                      <a:tailEnd type="none" w="med" len="med"/>
                    </a:lnL>
                    <a:lnR w="12701" cap="flat" cmpd="sng" algn="ctr">
                      <a:solidFill>
                        <a:srgbClr val="000000"/>
                      </a:solidFill>
                      <a:prstDash val="solid"/>
                      <a:round/>
                      <a:headEnd type="none" w="med" len="med"/>
                      <a:tailEnd type="none" w="med" len="med"/>
                    </a:lnR>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solidFill>
                      <a:srgbClr val="FFFFFF"/>
                    </a:solidFill>
                  </a:tcPr>
                </a:tc>
                <a:tc>
                  <a:txBody>
                    <a:bodyPr/>
                    <a:lstStyle/>
                    <a:p>
                      <a:pPr lvl="0" algn="ctr">
                        <a:lnSpc>
                          <a:spcPct val="115000"/>
                        </a:lnSpc>
                        <a:spcAft>
                          <a:spcPts val="0"/>
                        </a:spcAft>
                      </a:pPr>
                      <a:r>
                        <a:rPr lang="en-US" sz="1200" dirty="0">
                          <a:solidFill>
                            <a:srgbClr val="000000"/>
                          </a:solidFill>
                          <a:latin typeface="+mn-lt"/>
                          <a:ea typeface="Calibri" pitchFamily="34"/>
                          <a:cs typeface="Times New Roman" pitchFamily="18"/>
                        </a:rPr>
                        <a:t> Acute myocardial infarction</a:t>
                      </a:r>
                      <a:endParaRPr lang="it-IT" sz="1200" dirty="0">
                        <a:solidFill>
                          <a:srgbClr val="000000"/>
                        </a:solidFill>
                        <a:latin typeface="+mn-lt"/>
                        <a:ea typeface="Calibri" pitchFamily="34"/>
                        <a:cs typeface="Times New Roman" pitchFamily="18"/>
                      </a:endParaRPr>
                    </a:p>
                  </a:txBody>
                  <a:tcPr marL="68580" marR="68580" marT="0" marB="0" anchor="ctr">
                    <a:lnL w="12701" cap="flat" cmpd="sng" algn="ctr">
                      <a:solidFill>
                        <a:srgbClr val="000000"/>
                      </a:solidFill>
                      <a:prstDash val="solid"/>
                      <a:round/>
                      <a:headEnd type="none" w="med" len="med"/>
                      <a:tailEnd type="none" w="med" len="med"/>
                    </a:lnL>
                    <a:lnR w="12701" cap="flat" cmpd="sng" algn="ctr">
                      <a:solidFill>
                        <a:srgbClr val="000000"/>
                      </a:solidFill>
                      <a:prstDash val="solid"/>
                      <a:round/>
                      <a:headEnd type="none" w="med" len="med"/>
                      <a:tailEnd type="none" w="med" len="med"/>
                    </a:lnR>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692713">
                <a:tc>
                  <a:txBody>
                    <a:bodyPr/>
                    <a:lstStyle/>
                    <a:p>
                      <a:pPr lvl="0" algn="ctr">
                        <a:lnSpc>
                          <a:spcPct val="115000"/>
                        </a:lnSpc>
                        <a:spcAft>
                          <a:spcPts val="0"/>
                        </a:spcAft>
                      </a:pPr>
                      <a:r>
                        <a:rPr lang="en-US" sz="1400">
                          <a:solidFill>
                            <a:srgbClr val="000000"/>
                          </a:solidFill>
                          <a:latin typeface="+mn-lt"/>
                          <a:ea typeface="Calibri" pitchFamily="34"/>
                          <a:cs typeface="Times New Roman" pitchFamily="18"/>
                        </a:rPr>
                        <a:t> </a:t>
                      </a:r>
                      <a:endParaRPr lang="it-IT" sz="1400">
                        <a:solidFill>
                          <a:srgbClr val="000000"/>
                        </a:solidFill>
                        <a:latin typeface="+mn-lt"/>
                        <a:ea typeface="Calibri" pitchFamily="34"/>
                        <a:cs typeface="Times New Roman" pitchFamily="18"/>
                      </a:endParaRPr>
                    </a:p>
                    <a:p>
                      <a:pPr lvl="0" algn="ctr">
                        <a:lnSpc>
                          <a:spcPct val="115000"/>
                        </a:lnSpc>
                        <a:spcAft>
                          <a:spcPts val="0"/>
                        </a:spcAft>
                      </a:pPr>
                      <a:r>
                        <a:rPr lang="en-US" sz="1400">
                          <a:solidFill>
                            <a:srgbClr val="000000"/>
                          </a:solidFill>
                          <a:latin typeface="+mn-lt"/>
                          <a:ea typeface="Calibri" pitchFamily="34"/>
                          <a:cs typeface="Times New Roman" pitchFamily="18"/>
                        </a:rPr>
                        <a:t>Osteoporosis</a:t>
                      </a:r>
                      <a:endParaRPr lang="it-IT" sz="1400">
                        <a:solidFill>
                          <a:srgbClr val="000000"/>
                        </a:solidFill>
                        <a:latin typeface="+mn-lt"/>
                        <a:ea typeface="Calibri" pitchFamily="34"/>
                        <a:cs typeface="Times New Roman" pitchFamily="18"/>
                      </a:endParaRPr>
                    </a:p>
                    <a:p>
                      <a:pPr lvl="0" algn="ctr">
                        <a:lnSpc>
                          <a:spcPct val="115000"/>
                        </a:lnSpc>
                        <a:spcAft>
                          <a:spcPts val="0"/>
                        </a:spcAft>
                      </a:pPr>
                      <a:r>
                        <a:rPr lang="en-US" sz="1400">
                          <a:solidFill>
                            <a:srgbClr val="000000"/>
                          </a:solidFill>
                          <a:latin typeface="+mn-lt"/>
                          <a:ea typeface="Calibri" pitchFamily="34"/>
                          <a:cs typeface="Times New Roman" pitchFamily="18"/>
                        </a:rPr>
                        <a:t> </a:t>
                      </a:r>
                      <a:endParaRPr lang="it-IT" sz="1400">
                        <a:solidFill>
                          <a:srgbClr val="000000"/>
                        </a:solidFill>
                        <a:latin typeface="+mn-lt"/>
                        <a:ea typeface="Calibri" pitchFamily="34"/>
                        <a:cs typeface="Times New Roman" pitchFamily="18"/>
                      </a:endParaRPr>
                    </a:p>
                  </a:txBody>
                  <a:tcPr marL="68580" marR="68580" marT="0" marB="0" anchor="ctr">
                    <a:lnL w="12701" cap="flat" cmpd="sng" algn="ctr">
                      <a:solidFill>
                        <a:srgbClr val="000000"/>
                      </a:solidFill>
                      <a:prstDash val="solid"/>
                      <a:round/>
                      <a:headEnd type="none" w="med" len="med"/>
                      <a:tailEnd type="none" w="med" len="med"/>
                    </a:lnL>
                    <a:lnR w="12701" cap="flat" cmpd="sng" algn="ctr">
                      <a:solidFill>
                        <a:srgbClr val="000000"/>
                      </a:solidFill>
                      <a:prstDash val="solid"/>
                      <a:round/>
                      <a:headEnd type="none" w="med" len="med"/>
                      <a:tailEnd type="none" w="med" len="med"/>
                    </a:lnR>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solidFill>
                      <a:srgbClr val="FFFFFF"/>
                    </a:solidFill>
                  </a:tcPr>
                </a:tc>
                <a:tc>
                  <a:txBody>
                    <a:bodyPr/>
                    <a:lstStyle/>
                    <a:p>
                      <a:pPr lvl="0" algn="ctr">
                        <a:lnSpc>
                          <a:spcPct val="115000"/>
                        </a:lnSpc>
                        <a:spcAft>
                          <a:spcPts val="0"/>
                        </a:spcAft>
                      </a:pPr>
                      <a:r>
                        <a:rPr lang="en-US" sz="1200">
                          <a:solidFill>
                            <a:srgbClr val="000000"/>
                          </a:solidFill>
                          <a:latin typeface="+mn-lt"/>
                          <a:ea typeface="Calibri" pitchFamily="34"/>
                          <a:cs typeface="Times New Roman" pitchFamily="18"/>
                        </a:rPr>
                        <a:t>Bone-related fractures among lower  adhering patients</a:t>
                      </a:r>
                      <a:endParaRPr lang="it-IT" sz="1200">
                        <a:solidFill>
                          <a:srgbClr val="000000"/>
                        </a:solidFill>
                        <a:latin typeface="+mn-lt"/>
                        <a:ea typeface="Calibri" pitchFamily="34"/>
                        <a:cs typeface="Times New Roman" pitchFamily="18"/>
                      </a:endParaRPr>
                    </a:p>
                  </a:txBody>
                  <a:tcPr marL="68580" marR="68580" marT="0" marB="0" anchor="ctr">
                    <a:lnL w="12701" cap="flat" cmpd="sng" algn="ctr">
                      <a:solidFill>
                        <a:srgbClr val="000000"/>
                      </a:solidFill>
                      <a:prstDash val="solid"/>
                      <a:round/>
                      <a:headEnd type="none" w="med" len="med"/>
                      <a:tailEnd type="none" w="med" len="med"/>
                    </a:lnL>
                    <a:lnR w="12701" cap="flat" cmpd="sng" algn="ctr">
                      <a:solidFill>
                        <a:srgbClr val="000000"/>
                      </a:solidFill>
                      <a:prstDash val="solid"/>
                      <a:round/>
                      <a:headEnd type="none" w="med" len="med"/>
                      <a:tailEnd type="none" w="med" len="med"/>
                    </a:lnR>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835328">
                <a:tc>
                  <a:txBody>
                    <a:bodyPr/>
                    <a:lstStyle/>
                    <a:p>
                      <a:pPr lvl="0" algn="ctr">
                        <a:lnSpc>
                          <a:spcPct val="200000"/>
                        </a:lnSpc>
                        <a:spcAft>
                          <a:spcPts val="0"/>
                        </a:spcAft>
                      </a:pPr>
                      <a:r>
                        <a:rPr lang="en-US" sz="1400" dirty="0">
                          <a:solidFill>
                            <a:srgbClr val="000000"/>
                          </a:solidFill>
                          <a:latin typeface="+mn-lt"/>
                          <a:ea typeface="Calibri" pitchFamily="34"/>
                          <a:cs typeface="Times New Roman" pitchFamily="18"/>
                        </a:rPr>
                        <a:t>HIV</a:t>
                      </a:r>
                      <a:endParaRPr lang="it-IT" sz="1400" dirty="0">
                        <a:solidFill>
                          <a:srgbClr val="000000"/>
                        </a:solidFill>
                        <a:latin typeface="+mn-lt"/>
                        <a:ea typeface="Calibri" pitchFamily="34"/>
                        <a:cs typeface="Times New Roman" pitchFamily="18"/>
                      </a:endParaRPr>
                    </a:p>
                  </a:txBody>
                  <a:tcPr marL="68580" marR="68580" marT="0" marB="0" anchor="ctr">
                    <a:lnL w="12701" cap="flat" cmpd="sng" algn="ctr">
                      <a:solidFill>
                        <a:srgbClr val="000000"/>
                      </a:solidFill>
                      <a:prstDash val="solid"/>
                      <a:round/>
                      <a:headEnd type="none" w="med" len="med"/>
                      <a:tailEnd type="none" w="med" len="med"/>
                    </a:lnL>
                    <a:lnR w="12701" cap="flat" cmpd="sng" algn="ctr">
                      <a:solidFill>
                        <a:srgbClr val="000000"/>
                      </a:solidFill>
                      <a:prstDash val="solid"/>
                      <a:round/>
                      <a:headEnd type="none" w="med" len="med"/>
                      <a:tailEnd type="none" w="med" len="med"/>
                    </a:lnR>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solidFill>
                      <a:srgbClr val="FFFFFF"/>
                    </a:solidFill>
                  </a:tcPr>
                </a:tc>
                <a:tc>
                  <a:txBody>
                    <a:bodyPr/>
                    <a:lstStyle/>
                    <a:p>
                      <a:pPr lvl="0" algn="ctr">
                        <a:lnSpc>
                          <a:spcPct val="115000"/>
                        </a:lnSpc>
                        <a:spcAft>
                          <a:spcPts val="0"/>
                        </a:spcAft>
                      </a:pPr>
                      <a:r>
                        <a:rPr lang="en-US" sz="1200" dirty="0">
                          <a:solidFill>
                            <a:srgbClr val="000000"/>
                          </a:solidFill>
                          <a:latin typeface="+mn-lt"/>
                          <a:ea typeface="Calibri" pitchFamily="34"/>
                          <a:cs typeface="Times New Roman" pitchFamily="18"/>
                        </a:rPr>
                        <a:t> Complications from no adherence based on Hepatitis C data as proxy measure</a:t>
                      </a:r>
                      <a:endParaRPr lang="it-IT" sz="1200" dirty="0">
                        <a:solidFill>
                          <a:srgbClr val="000000"/>
                        </a:solidFill>
                        <a:latin typeface="+mn-lt"/>
                        <a:ea typeface="Calibri" pitchFamily="34"/>
                        <a:cs typeface="Times New Roman" pitchFamily="18"/>
                      </a:endParaRPr>
                    </a:p>
                  </a:txBody>
                  <a:tcPr marL="68580" marR="68580" marT="0" marB="0" anchor="ctr">
                    <a:lnL w="12701" cap="flat" cmpd="sng" algn="ctr">
                      <a:solidFill>
                        <a:srgbClr val="000000"/>
                      </a:solidFill>
                      <a:prstDash val="solid"/>
                      <a:round/>
                      <a:headEnd type="none" w="med" len="med"/>
                      <a:tailEnd type="none" w="med" len="med"/>
                    </a:lnL>
                    <a:lnR w="12701" cap="flat" cmpd="sng" algn="ctr">
                      <a:solidFill>
                        <a:srgbClr val="000000"/>
                      </a:solidFill>
                      <a:prstDash val="solid"/>
                      <a:round/>
                      <a:headEnd type="none" w="med" len="med"/>
                      <a:tailEnd type="none" w="med" len="med"/>
                    </a:lnR>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1048932">
                <a:tc>
                  <a:txBody>
                    <a:bodyPr/>
                    <a:lstStyle/>
                    <a:p>
                      <a:pPr lvl="0" algn="ctr">
                        <a:lnSpc>
                          <a:spcPct val="115000"/>
                        </a:lnSpc>
                        <a:spcAft>
                          <a:spcPts val="0"/>
                        </a:spcAft>
                      </a:pPr>
                      <a:r>
                        <a:rPr lang="en-US" sz="1400" dirty="0">
                          <a:solidFill>
                            <a:srgbClr val="000000"/>
                          </a:solidFill>
                          <a:latin typeface="+mn-lt"/>
                          <a:ea typeface="Calibri" pitchFamily="34"/>
                          <a:cs typeface="Times New Roman" pitchFamily="18"/>
                        </a:rPr>
                        <a:t> </a:t>
                      </a:r>
                      <a:endParaRPr lang="it-IT" sz="1400" dirty="0">
                        <a:solidFill>
                          <a:srgbClr val="000000"/>
                        </a:solidFill>
                        <a:latin typeface="+mn-lt"/>
                        <a:ea typeface="Calibri" pitchFamily="34"/>
                        <a:cs typeface="Times New Roman" pitchFamily="18"/>
                      </a:endParaRPr>
                    </a:p>
                    <a:p>
                      <a:pPr lvl="0" algn="ctr">
                        <a:lnSpc>
                          <a:spcPct val="115000"/>
                        </a:lnSpc>
                        <a:spcAft>
                          <a:spcPts val="0"/>
                        </a:spcAft>
                      </a:pPr>
                      <a:r>
                        <a:rPr lang="en-US" sz="1400" dirty="0">
                          <a:solidFill>
                            <a:srgbClr val="000000"/>
                          </a:solidFill>
                          <a:latin typeface="+mn-lt"/>
                          <a:ea typeface="Calibri" pitchFamily="34"/>
                          <a:cs typeface="Times New Roman" pitchFamily="18"/>
                        </a:rPr>
                        <a:t>Congestive heart  failure (CHF)</a:t>
                      </a:r>
                      <a:endParaRPr lang="it-IT" sz="1400" dirty="0">
                        <a:solidFill>
                          <a:srgbClr val="000000"/>
                        </a:solidFill>
                        <a:latin typeface="+mn-lt"/>
                        <a:ea typeface="Calibri" pitchFamily="34"/>
                        <a:cs typeface="Times New Roman" pitchFamily="18"/>
                      </a:endParaRPr>
                    </a:p>
                  </a:txBody>
                  <a:tcPr marL="68580" marR="68580" marT="0" marB="0" anchor="ctr">
                    <a:lnL w="12701" cap="flat" cmpd="sng" algn="ctr">
                      <a:solidFill>
                        <a:srgbClr val="000000"/>
                      </a:solidFill>
                      <a:prstDash val="solid"/>
                      <a:round/>
                      <a:headEnd type="none" w="med" len="med"/>
                      <a:tailEnd type="none" w="med" len="med"/>
                    </a:lnL>
                    <a:lnR w="12701" cap="flat" cmpd="sng" algn="ctr">
                      <a:solidFill>
                        <a:srgbClr val="000000"/>
                      </a:solidFill>
                      <a:prstDash val="solid"/>
                      <a:round/>
                      <a:headEnd type="none" w="med" len="med"/>
                      <a:tailEnd type="none" w="med" len="med"/>
                    </a:lnR>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solidFill>
                      <a:srgbClr val="FFFFFF"/>
                    </a:solidFill>
                  </a:tcPr>
                </a:tc>
                <a:tc>
                  <a:txBody>
                    <a:bodyPr/>
                    <a:lstStyle/>
                    <a:p>
                      <a:pPr lvl="0" algn="ctr">
                        <a:lnSpc>
                          <a:spcPct val="115000"/>
                        </a:lnSpc>
                        <a:spcAft>
                          <a:spcPts val="0"/>
                        </a:spcAft>
                      </a:pPr>
                      <a:r>
                        <a:rPr lang="en-US" sz="1200" dirty="0">
                          <a:solidFill>
                            <a:srgbClr val="000000"/>
                          </a:solidFill>
                          <a:latin typeface="+mn-lt"/>
                          <a:ea typeface="Calibri" pitchFamily="34"/>
                          <a:cs typeface="Times New Roman" pitchFamily="18"/>
                        </a:rPr>
                        <a:t>All complications resulting in additional inpatient, outpatient, emergency room and pharmacy utilization, calculated as incremental difference between no adherent and adherent CHF patients</a:t>
                      </a:r>
                      <a:endParaRPr lang="it-IT" sz="1200" dirty="0">
                        <a:solidFill>
                          <a:srgbClr val="000000"/>
                        </a:solidFill>
                        <a:latin typeface="+mn-lt"/>
                        <a:ea typeface="Calibri" pitchFamily="34"/>
                        <a:cs typeface="Times New Roman" pitchFamily="18"/>
                      </a:endParaRPr>
                    </a:p>
                  </a:txBody>
                  <a:tcPr marL="68580" marR="68580" marT="0" marB="0" anchor="ctr">
                    <a:lnL w="12701" cap="flat" cmpd="sng" algn="ctr">
                      <a:solidFill>
                        <a:srgbClr val="000000"/>
                      </a:solidFill>
                      <a:prstDash val="solid"/>
                      <a:round/>
                      <a:headEnd type="none" w="med" len="med"/>
                      <a:tailEnd type="none" w="med" len="med"/>
                    </a:lnL>
                    <a:lnR w="12701" cap="flat" cmpd="sng" algn="ctr">
                      <a:solidFill>
                        <a:srgbClr val="000000"/>
                      </a:solidFill>
                      <a:prstDash val="solid"/>
                      <a:round/>
                      <a:headEnd type="none" w="med" len="med"/>
                      <a:tailEnd type="none" w="med" len="med"/>
                    </a:lnR>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bl>
          </a:graphicData>
        </a:graphic>
      </p:graphicFrame>
      <p:sp>
        <p:nvSpPr>
          <p:cNvPr id="8" name="Oval 10">
            <a:extLst>
              <a:ext uri="{FF2B5EF4-FFF2-40B4-BE49-F238E27FC236}">
                <a16:creationId xmlns:a16="http://schemas.microsoft.com/office/drawing/2014/main" id="{B8E58DD0-C6DE-134E-990B-BBFC63D36FC0}"/>
              </a:ext>
            </a:extLst>
          </p:cNvPr>
          <p:cNvSpPr>
            <a:spLocks/>
          </p:cNvSpPr>
          <p:nvPr/>
        </p:nvSpPr>
        <p:spPr bwMode="auto">
          <a:xfrm>
            <a:off x="8469229" y="3567070"/>
            <a:ext cx="577850" cy="360362"/>
          </a:xfrm>
          <a:custGeom>
            <a:avLst/>
            <a:gdLst>
              <a:gd name="T0" fmla="*/ 288926 w 577845"/>
              <a:gd name="T1" fmla="*/ 0 h 360365"/>
              <a:gd name="T2" fmla="*/ 577850 w 577845"/>
              <a:gd name="T3" fmla="*/ 180181 h 360365"/>
              <a:gd name="T4" fmla="*/ 288926 w 577845"/>
              <a:gd name="T5" fmla="*/ 360362 h 360365"/>
              <a:gd name="T6" fmla="*/ 0 w 577845"/>
              <a:gd name="T7" fmla="*/ 180181 h 360365"/>
              <a:gd name="T8" fmla="*/ 84624 w 577845"/>
              <a:gd name="T9" fmla="*/ 52774 h 360365"/>
              <a:gd name="T10" fmla="*/ 84624 w 577845"/>
              <a:gd name="T11" fmla="*/ 307588 h 360365"/>
              <a:gd name="T12" fmla="*/ 493226 w 577845"/>
              <a:gd name="T13" fmla="*/ 307588 h 360365"/>
              <a:gd name="T14" fmla="*/ 493226 w 577845"/>
              <a:gd name="T15" fmla="*/ 52774 h 360365"/>
              <a:gd name="T16" fmla="*/ 17694720 60000 65536"/>
              <a:gd name="T17" fmla="*/ 0 60000 65536"/>
              <a:gd name="T18" fmla="*/ 5898240 60000 65536"/>
              <a:gd name="T19" fmla="*/ 11796480 60000 65536"/>
              <a:gd name="T20" fmla="*/ 17694720 60000 65536"/>
              <a:gd name="T21" fmla="*/ 5898240 60000 65536"/>
              <a:gd name="T22" fmla="*/ 5898240 60000 65536"/>
              <a:gd name="T23" fmla="*/ 17694720 60000 65536"/>
              <a:gd name="T24" fmla="*/ 84623 w 577845"/>
              <a:gd name="T25" fmla="*/ 52774 h 360365"/>
              <a:gd name="T26" fmla="*/ 493222 w 577845"/>
              <a:gd name="T27" fmla="*/ 307591 h 36036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77845" h="360365">
                <a:moveTo>
                  <a:pt x="0" y="180183"/>
                </a:moveTo>
                <a:lnTo>
                  <a:pt x="0" y="180183"/>
                </a:lnTo>
                <a:cubicBezTo>
                  <a:pt x="0" y="279695"/>
                  <a:pt x="129355" y="360366"/>
                  <a:pt x="288923" y="360366"/>
                </a:cubicBezTo>
                <a:cubicBezTo>
                  <a:pt x="448490" y="360366"/>
                  <a:pt x="577846" y="279695"/>
                  <a:pt x="577846" y="180183"/>
                </a:cubicBezTo>
                <a:cubicBezTo>
                  <a:pt x="577846" y="80670"/>
                  <a:pt x="448490" y="0"/>
                  <a:pt x="288923" y="0"/>
                </a:cubicBezTo>
                <a:cubicBezTo>
                  <a:pt x="129355" y="0"/>
                  <a:pt x="0" y="80670"/>
                  <a:pt x="0" y="180182"/>
                </a:cubicBezTo>
                <a:lnTo>
                  <a:pt x="0" y="180183"/>
                </a:lnTo>
                <a:close/>
              </a:path>
            </a:pathLst>
          </a:custGeom>
          <a:noFill/>
          <a:ln w="31747" cap="flat">
            <a:solidFill>
              <a:srgbClr val="FF2F92"/>
            </a:solidFill>
            <a:prstDash val="solid"/>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it-IT"/>
          </a:p>
        </p:txBody>
      </p:sp>
    </p:spTree>
    <p:extLst>
      <p:ext uri="{BB962C8B-B14F-4D97-AF65-F5344CB8AC3E}">
        <p14:creationId xmlns:p14="http://schemas.microsoft.com/office/powerpoint/2010/main" val="3960016734"/>
      </p:ext>
    </p:extLst>
  </p:cSld>
  <p:clrMapOvr>
    <a:masterClrMapping/>
  </p:clrMapOvr>
  <p:transition spd="slow"/>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magine 6">
            <a:extLst>
              <a:ext uri="{FF2B5EF4-FFF2-40B4-BE49-F238E27FC236}">
                <a16:creationId xmlns:a16="http://schemas.microsoft.com/office/drawing/2014/main" id="{E8C2542E-6892-3549-9F9A-E609A48FC2C0}"/>
              </a:ext>
            </a:extLst>
          </p:cNvPr>
          <p:cNvPicPr>
            <a:picLocks noChangeAspect="1"/>
          </p:cNvPicPr>
          <p:nvPr/>
        </p:nvPicPr>
        <p:blipFill>
          <a:blip r:embed="rId3">
            <a:duotone>
              <a:schemeClr val="accent6">
                <a:shade val="45000"/>
                <a:satMod val="135000"/>
              </a:schemeClr>
              <a:prstClr val="white"/>
            </a:duotone>
            <a:alphaModFix amt="30000"/>
            <a:extLst>
              <a:ext uri="{BEBA8EAE-BF5A-486C-A8C5-ECC9F3942E4B}">
                <a14:imgProps xmlns:a14="http://schemas.microsoft.com/office/drawing/2010/main">
                  <a14:imgLayer r:embed="rId4">
                    <a14:imgEffect>
                      <a14:colorTemperature colorTemp="1500"/>
                    </a14:imgEffect>
                    <a14:imgEffect>
                      <a14:saturation sat="0"/>
                    </a14:imgEffect>
                  </a14:imgLayer>
                </a14:imgProps>
              </a:ext>
            </a:extLst>
          </a:blip>
          <a:stretch>
            <a:fillRect/>
          </a:stretch>
        </p:blipFill>
        <p:spPr>
          <a:xfrm>
            <a:off x="0" y="0"/>
            <a:ext cx="12199171" cy="6858000"/>
          </a:xfrm>
          <a:prstGeom prst="rect">
            <a:avLst/>
          </a:prstGeom>
          <a:solidFill>
            <a:srgbClr val="FFFFFF"/>
          </a:solidFill>
          <a:ln>
            <a:solidFill>
              <a:schemeClr val="bg1"/>
            </a:solidFill>
          </a:ln>
        </p:spPr>
      </p:pic>
      <p:sp>
        <p:nvSpPr>
          <p:cNvPr id="117761" name="Titolo 14">
            <a:extLst>
              <a:ext uri="{FF2B5EF4-FFF2-40B4-BE49-F238E27FC236}">
                <a16:creationId xmlns:a16="http://schemas.microsoft.com/office/drawing/2014/main" id="{FF8E4253-2C0E-0347-AFFA-90E7CF9C327D}"/>
              </a:ext>
            </a:extLst>
          </p:cNvPr>
          <p:cNvSpPr>
            <a:spLocks noChangeArrowheads="1"/>
          </p:cNvSpPr>
          <p:nvPr/>
        </p:nvSpPr>
        <p:spPr bwMode="auto">
          <a:xfrm>
            <a:off x="1558922" y="0"/>
            <a:ext cx="9092866" cy="1347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it-IT" altLang="it-IT" sz="2000" dirty="0">
                <a:solidFill>
                  <a:srgbClr val="000000"/>
                </a:solidFill>
                <a:latin typeface="+mn-lt"/>
                <a:ea typeface="ＭＳ Ｐゴシック" panose="020B0600070205080204" pitchFamily="34" charset="-128"/>
                <a:cs typeface="Arial" panose="020B0604020202020204" pitchFamily="34" charset="0"/>
              </a:rPr>
              <a:t>ADERENZA AL TRATTAMENTO</a:t>
            </a:r>
          </a:p>
          <a:p>
            <a:pPr algn="ctr" eaLnBrk="1" hangingPunct="1"/>
            <a:r>
              <a:rPr lang="it-IT" altLang="it-IT" sz="2800" dirty="0">
                <a:solidFill>
                  <a:srgbClr val="000000"/>
                </a:solidFill>
                <a:latin typeface="+mn-lt"/>
                <a:ea typeface="ＭＳ Ｐゴシック" panose="020B0600070205080204" pitchFamily="34" charset="-128"/>
                <a:cs typeface="Arial" panose="020B0604020202020204" pitchFamily="34" charset="0"/>
              </a:rPr>
              <a:t>I LIVELLI DI ADERENZA AL TRATTAMENTO </a:t>
            </a:r>
          </a:p>
          <a:p>
            <a:pPr algn="ctr" eaLnBrk="1" hangingPunct="1"/>
            <a:r>
              <a:rPr lang="it-IT" altLang="it-IT" sz="2800" dirty="0">
                <a:solidFill>
                  <a:srgbClr val="000000"/>
                </a:solidFill>
                <a:latin typeface="+mn-lt"/>
                <a:ea typeface="ＭＳ Ｐゴシック" panose="020B0600070205080204" pitchFamily="34" charset="-128"/>
                <a:cs typeface="Arial" panose="020B0604020202020204" pitchFamily="34" charset="0"/>
              </a:rPr>
              <a:t>NELLA TERAPIA ANTIIPERTENSIVA</a:t>
            </a:r>
          </a:p>
        </p:txBody>
      </p:sp>
      <p:pic>
        <p:nvPicPr>
          <p:cNvPr id="117762" name="Immagine 7">
            <a:extLst>
              <a:ext uri="{FF2B5EF4-FFF2-40B4-BE49-F238E27FC236}">
                <a16:creationId xmlns:a16="http://schemas.microsoft.com/office/drawing/2014/main" id="{4B8F61AE-62D8-864A-89E4-7E11D95C082D}"/>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32034" y="1522247"/>
            <a:ext cx="9800143" cy="47839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7763" name="Text Box 80">
            <a:extLst>
              <a:ext uri="{FF2B5EF4-FFF2-40B4-BE49-F238E27FC236}">
                <a16:creationId xmlns:a16="http://schemas.microsoft.com/office/drawing/2014/main" id="{FFCAB769-C2DD-F346-AC64-3472DB013B7C}"/>
              </a:ext>
            </a:extLst>
          </p:cNvPr>
          <p:cNvSpPr txBox="1">
            <a:spLocks noChangeArrowheads="1"/>
          </p:cNvSpPr>
          <p:nvPr/>
        </p:nvSpPr>
        <p:spPr bwMode="auto">
          <a:xfrm>
            <a:off x="7202905" y="6456885"/>
            <a:ext cx="499626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r" eaLnBrk="1" hangingPunct="1"/>
            <a:r>
              <a:rPr lang="it-IT" altLang="it-IT" sz="1200" i="1" dirty="0">
                <a:solidFill>
                  <a:schemeClr val="tx2"/>
                </a:solidFill>
                <a:latin typeface="+mn-lt"/>
                <a:ea typeface="ＭＳ Ｐゴシック" panose="020B0600070205080204" pitchFamily="34" charset="-128"/>
                <a:cs typeface="Arial" panose="020B0604020202020204" pitchFamily="34" charset="0"/>
              </a:rPr>
              <a:t>Fonte: L’uso dei Farmaci in Italia Rapporto Nazionale Anno </a:t>
            </a:r>
            <a:r>
              <a:rPr lang="is-IS" altLang="it-IT" sz="1200" i="1" dirty="0">
                <a:solidFill>
                  <a:schemeClr val="tx2"/>
                </a:solidFill>
                <a:latin typeface="+mn-lt"/>
                <a:ea typeface="ＭＳ Ｐゴシック" panose="020B0600070205080204" pitchFamily="34" charset="-128"/>
                <a:cs typeface="Arial" panose="020B0604020202020204" pitchFamily="34" charset="0"/>
              </a:rPr>
              <a:t>2015</a:t>
            </a:r>
            <a:r>
              <a:rPr lang="it-IT" altLang="it-IT" sz="1200" i="1" dirty="0">
                <a:solidFill>
                  <a:schemeClr val="tx2"/>
                </a:solidFill>
                <a:latin typeface="+mn-lt"/>
                <a:ea typeface="ＭＳ Ｐゴシック" panose="020B0600070205080204" pitchFamily="34" charset="-128"/>
                <a:cs typeface="Arial" panose="020B0604020202020204" pitchFamily="34" charset="0"/>
              </a:rPr>
              <a:t>.</a:t>
            </a:r>
          </a:p>
        </p:txBody>
      </p:sp>
    </p:spTree>
    <p:extLst>
      <p:ext uri="{BB962C8B-B14F-4D97-AF65-F5344CB8AC3E}">
        <p14:creationId xmlns:p14="http://schemas.microsoft.com/office/powerpoint/2010/main" val="331528379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Immagine 14">
            <a:extLst>
              <a:ext uri="{FF2B5EF4-FFF2-40B4-BE49-F238E27FC236}">
                <a16:creationId xmlns:a16="http://schemas.microsoft.com/office/drawing/2014/main" id="{AD572CF5-FC32-894C-AA41-A6FF4EDE573E}"/>
              </a:ext>
            </a:extLst>
          </p:cNvPr>
          <p:cNvPicPr>
            <a:picLocks noChangeAspect="1"/>
          </p:cNvPicPr>
          <p:nvPr/>
        </p:nvPicPr>
        <p:blipFill>
          <a:blip r:embed="rId2">
            <a:duotone>
              <a:schemeClr val="accent6">
                <a:shade val="45000"/>
                <a:satMod val="135000"/>
              </a:schemeClr>
              <a:prstClr val="white"/>
            </a:duotone>
            <a:alphaModFix amt="30000"/>
            <a:extLst>
              <a:ext uri="{BEBA8EAE-BF5A-486C-A8C5-ECC9F3942E4B}">
                <a14:imgProps xmlns:a14="http://schemas.microsoft.com/office/drawing/2010/main">
                  <a14:imgLayer r:embed="rId3">
                    <a14:imgEffect>
                      <a14:colorTemperature colorTemp="1500"/>
                    </a14:imgEffect>
                    <a14:imgEffect>
                      <a14:saturation sat="0"/>
                    </a14:imgEffect>
                  </a14:imgLayer>
                </a14:imgProps>
              </a:ext>
            </a:extLst>
          </a:blip>
          <a:stretch>
            <a:fillRect/>
          </a:stretch>
        </p:blipFill>
        <p:spPr>
          <a:xfrm>
            <a:off x="0" y="0"/>
            <a:ext cx="12199171" cy="6858000"/>
          </a:xfrm>
          <a:prstGeom prst="rect">
            <a:avLst/>
          </a:prstGeom>
          <a:solidFill>
            <a:srgbClr val="FFFFFF"/>
          </a:solidFill>
          <a:ln>
            <a:solidFill>
              <a:schemeClr val="bg1"/>
            </a:solidFill>
          </a:ln>
        </p:spPr>
      </p:pic>
      <p:sp>
        <p:nvSpPr>
          <p:cNvPr id="89089" name="Titolo 1">
            <a:extLst>
              <a:ext uri="{FF2B5EF4-FFF2-40B4-BE49-F238E27FC236}">
                <a16:creationId xmlns:a16="http://schemas.microsoft.com/office/drawing/2014/main" id="{0590CB4B-CE5B-A94D-8E9C-90BFB54DAB6C}"/>
              </a:ext>
            </a:extLst>
          </p:cNvPr>
          <p:cNvSpPr txBox="1">
            <a:spLocks noGrp="1" noChangeArrowheads="1"/>
          </p:cNvSpPr>
          <p:nvPr>
            <p:ph type="title"/>
          </p:nvPr>
        </p:nvSpPr>
        <p:spPr>
          <a:xfrm>
            <a:off x="1043552" y="115586"/>
            <a:ext cx="10104895" cy="768051"/>
          </a:xfrm>
        </p:spPr>
        <p:txBody>
          <a:bodyPr>
            <a:normAutofit/>
          </a:bodyPr>
          <a:lstStyle/>
          <a:p>
            <a:pPr algn="ctr" eaLnBrk="1" hangingPunct="1">
              <a:lnSpc>
                <a:spcPct val="100000"/>
              </a:lnSpc>
              <a:spcAft>
                <a:spcPts val="600"/>
              </a:spcAft>
              <a:defRPr/>
            </a:pPr>
            <a:r>
              <a:rPr altLang="it-IT" sz="2800" dirty="0"/>
              <a:t>Il </a:t>
            </a:r>
            <a:r>
              <a:rPr altLang="it-IT" sz="2800" dirty="0" err="1"/>
              <a:t>rapporto</a:t>
            </a:r>
            <a:r>
              <a:rPr altLang="it-IT" sz="2800" dirty="0"/>
              <a:t> OSMED in Italia</a:t>
            </a:r>
            <a:endParaRPr altLang="it-IT" sz="1800" dirty="0"/>
          </a:p>
        </p:txBody>
      </p:sp>
      <p:graphicFrame>
        <p:nvGraphicFramePr>
          <p:cNvPr id="3" name="Grafico 3">
            <a:extLst>
              <a:ext uri="{FF2B5EF4-FFF2-40B4-BE49-F238E27FC236}">
                <a16:creationId xmlns:a16="http://schemas.microsoft.com/office/drawing/2014/main" id="{C98CF71A-4C17-C944-BC39-81E3C52A4AE6}"/>
              </a:ext>
            </a:extLst>
          </p:cNvPr>
          <p:cNvGraphicFramePr/>
          <p:nvPr>
            <p:extLst>
              <p:ext uri="{D42A27DB-BD31-4B8C-83A1-F6EECF244321}">
                <p14:modId xmlns:p14="http://schemas.microsoft.com/office/powerpoint/2010/main" val="2771787532"/>
              </p:ext>
            </p:extLst>
          </p:nvPr>
        </p:nvGraphicFramePr>
        <p:xfrm>
          <a:off x="2567604" y="1700811"/>
          <a:ext cx="6984772" cy="3552828"/>
        </p:xfrm>
        <a:graphic>
          <a:graphicData uri="http://schemas.openxmlformats.org/drawingml/2006/chart">
            <c:chart xmlns:c="http://schemas.openxmlformats.org/drawingml/2006/chart" xmlns:r="http://schemas.openxmlformats.org/officeDocument/2006/relationships" r:id="rId4"/>
          </a:graphicData>
        </a:graphic>
      </p:graphicFrame>
      <p:sp>
        <p:nvSpPr>
          <p:cNvPr id="118787" name="CasellaDiTesto 4">
            <a:extLst>
              <a:ext uri="{FF2B5EF4-FFF2-40B4-BE49-F238E27FC236}">
                <a16:creationId xmlns:a16="http://schemas.microsoft.com/office/drawing/2014/main" id="{1A7B1C13-58BC-6344-A753-8B24C712640D}"/>
              </a:ext>
            </a:extLst>
          </p:cNvPr>
          <p:cNvSpPr txBox="1">
            <a:spLocks noChangeArrowheads="1"/>
          </p:cNvSpPr>
          <p:nvPr/>
        </p:nvSpPr>
        <p:spPr bwMode="auto">
          <a:xfrm>
            <a:off x="9409114" y="2636838"/>
            <a:ext cx="790575"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it-IT" altLang="it-IT" sz="1100" b="1">
                <a:latin typeface="Century Gothic" panose="020B0502020202020204" pitchFamily="34" charset="0"/>
              </a:rPr>
              <a:t>Pazienti aderenti</a:t>
            </a:r>
          </a:p>
        </p:txBody>
      </p:sp>
      <p:sp>
        <p:nvSpPr>
          <p:cNvPr id="118788" name="CasellaDiTesto 5">
            <a:extLst>
              <a:ext uri="{FF2B5EF4-FFF2-40B4-BE49-F238E27FC236}">
                <a16:creationId xmlns:a16="http://schemas.microsoft.com/office/drawing/2014/main" id="{98C11CC9-5887-CA42-9E61-627D79BF05EF}"/>
              </a:ext>
            </a:extLst>
          </p:cNvPr>
          <p:cNvSpPr txBox="1">
            <a:spLocks noChangeArrowheads="1"/>
          </p:cNvSpPr>
          <p:nvPr/>
        </p:nvSpPr>
        <p:spPr bwMode="auto">
          <a:xfrm>
            <a:off x="9409113" y="3213101"/>
            <a:ext cx="863600"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it-IT" altLang="it-IT" sz="1100" b="1" dirty="0">
                <a:latin typeface="Century Gothic" panose="020B0502020202020204" pitchFamily="34" charset="0"/>
              </a:rPr>
              <a:t>Pazienti non aderenti</a:t>
            </a:r>
          </a:p>
        </p:txBody>
      </p:sp>
      <p:sp>
        <p:nvSpPr>
          <p:cNvPr id="118789" name="Rettangolo 6">
            <a:extLst>
              <a:ext uri="{FF2B5EF4-FFF2-40B4-BE49-F238E27FC236}">
                <a16:creationId xmlns:a16="http://schemas.microsoft.com/office/drawing/2014/main" id="{DAA13DC7-2216-8942-8B71-B4F0DD6CC194}"/>
              </a:ext>
            </a:extLst>
          </p:cNvPr>
          <p:cNvSpPr>
            <a:spLocks noChangeArrowheads="1"/>
          </p:cNvSpPr>
          <p:nvPr/>
        </p:nvSpPr>
        <p:spPr bwMode="auto">
          <a:xfrm flipH="1">
            <a:off x="9264651" y="2708276"/>
            <a:ext cx="144463" cy="144463"/>
          </a:xfrm>
          <a:prstGeom prst="rect">
            <a:avLst/>
          </a:prstGeom>
          <a:solidFill>
            <a:srgbClr val="0096FF"/>
          </a:solidFill>
          <a:ln w="19046" cap="rnd">
            <a:solidFill>
              <a:srgbClr val="0096FF"/>
            </a:solidFill>
            <a:miter lim="800000"/>
            <a:headEnd/>
            <a:tailEnd/>
          </a:ln>
        </p:spPr>
        <p:txBody>
          <a:bodyPr anchor="ctr" anchorCtr="1"/>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endParaRPr lang="it-IT" altLang="it-IT">
              <a:solidFill>
                <a:srgbClr val="FFFFFF"/>
              </a:solidFill>
              <a:latin typeface="Century Gothic" panose="020B0502020202020204" pitchFamily="34" charset="0"/>
            </a:endParaRPr>
          </a:p>
        </p:txBody>
      </p:sp>
      <p:sp>
        <p:nvSpPr>
          <p:cNvPr id="118790" name="Rettangolo 8">
            <a:extLst>
              <a:ext uri="{FF2B5EF4-FFF2-40B4-BE49-F238E27FC236}">
                <a16:creationId xmlns:a16="http://schemas.microsoft.com/office/drawing/2014/main" id="{9F0CB231-0E5D-384E-A1EA-C1530ED41ED3}"/>
              </a:ext>
            </a:extLst>
          </p:cNvPr>
          <p:cNvSpPr>
            <a:spLocks noChangeArrowheads="1"/>
          </p:cNvSpPr>
          <p:nvPr/>
        </p:nvSpPr>
        <p:spPr bwMode="auto">
          <a:xfrm flipH="1">
            <a:off x="9264651" y="3284538"/>
            <a:ext cx="144463" cy="144462"/>
          </a:xfrm>
          <a:prstGeom prst="rect">
            <a:avLst/>
          </a:prstGeom>
          <a:solidFill>
            <a:srgbClr val="FF2F92"/>
          </a:solidFill>
          <a:ln w="19046" cap="rnd">
            <a:solidFill>
              <a:srgbClr val="FF2F92"/>
            </a:solidFill>
            <a:miter lim="800000"/>
            <a:headEnd/>
            <a:tailEnd/>
          </a:ln>
        </p:spPr>
        <p:txBody>
          <a:bodyPr anchor="ctr" anchorCtr="1"/>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endParaRPr lang="it-IT" altLang="it-IT">
              <a:solidFill>
                <a:srgbClr val="FFFFFF"/>
              </a:solidFill>
              <a:latin typeface="Century Gothic" panose="020B0502020202020204" pitchFamily="34" charset="0"/>
            </a:endParaRPr>
          </a:p>
        </p:txBody>
      </p:sp>
      <p:sp>
        <p:nvSpPr>
          <p:cNvPr id="118791" name="Ovale 9">
            <a:extLst>
              <a:ext uri="{FF2B5EF4-FFF2-40B4-BE49-F238E27FC236}">
                <a16:creationId xmlns:a16="http://schemas.microsoft.com/office/drawing/2014/main" id="{3229ACA0-26C1-B84A-A33E-5068CF006EF1}"/>
              </a:ext>
            </a:extLst>
          </p:cNvPr>
          <p:cNvSpPr>
            <a:spLocks/>
          </p:cNvSpPr>
          <p:nvPr/>
        </p:nvSpPr>
        <p:spPr bwMode="auto">
          <a:xfrm>
            <a:off x="2208214" y="5084764"/>
            <a:ext cx="1366837" cy="1081087"/>
          </a:xfrm>
          <a:custGeom>
            <a:avLst/>
            <a:gdLst>
              <a:gd name="T0" fmla="*/ 683419 w 1366835"/>
              <a:gd name="T1" fmla="*/ 0 h 1081085"/>
              <a:gd name="T2" fmla="*/ 1366837 w 1366835"/>
              <a:gd name="T3" fmla="*/ 540544 h 1081085"/>
              <a:gd name="T4" fmla="*/ 683419 w 1366835"/>
              <a:gd name="T5" fmla="*/ 1081087 h 1081085"/>
              <a:gd name="T6" fmla="*/ 0 w 1366835"/>
              <a:gd name="T7" fmla="*/ 540544 h 1081085"/>
              <a:gd name="T8" fmla="*/ 200168 w 1366835"/>
              <a:gd name="T9" fmla="*/ 158321 h 1081085"/>
              <a:gd name="T10" fmla="*/ 200168 w 1366835"/>
              <a:gd name="T11" fmla="*/ 922766 h 1081085"/>
              <a:gd name="T12" fmla="*/ 1166669 w 1366835"/>
              <a:gd name="T13" fmla="*/ 922766 h 1081085"/>
              <a:gd name="T14" fmla="*/ 1166669 w 1366835"/>
              <a:gd name="T15" fmla="*/ 158321 h 1081085"/>
              <a:gd name="T16" fmla="*/ 17694720 60000 65536"/>
              <a:gd name="T17" fmla="*/ 0 60000 65536"/>
              <a:gd name="T18" fmla="*/ 5898240 60000 65536"/>
              <a:gd name="T19" fmla="*/ 11796480 60000 65536"/>
              <a:gd name="T20" fmla="*/ 17694720 60000 65536"/>
              <a:gd name="T21" fmla="*/ 5898240 60000 65536"/>
              <a:gd name="T22" fmla="*/ 5898240 60000 65536"/>
              <a:gd name="T23" fmla="*/ 17694720 60000 65536"/>
              <a:gd name="T24" fmla="*/ 200168 w 1366835"/>
              <a:gd name="T25" fmla="*/ 158321 h 1081085"/>
              <a:gd name="T26" fmla="*/ 1166667 w 1366835"/>
              <a:gd name="T27" fmla="*/ 922764 h 108108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66835" h="1081085">
                <a:moveTo>
                  <a:pt x="0" y="540543"/>
                </a:moveTo>
                <a:lnTo>
                  <a:pt x="0" y="540543"/>
                </a:lnTo>
                <a:cubicBezTo>
                  <a:pt x="0" y="839076"/>
                  <a:pt x="305976" y="1081086"/>
                  <a:pt x="683418" y="1081086"/>
                </a:cubicBezTo>
                <a:cubicBezTo>
                  <a:pt x="1060859" y="1081086"/>
                  <a:pt x="1366836" y="839076"/>
                  <a:pt x="1366836" y="540543"/>
                </a:cubicBezTo>
                <a:cubicBezTo>
                  <a:pt x="1366836" y="242009"/>
                  <a:pt x="1060859" y="0"/>
                  <a:pt x="683418" y="0"/>
                </a:cubicBezTo>
                <a:cubicBezTo>
                  <a:pt x="305976" y="0"/>
                  <a:pt x="0" y="242009"/>
                  <a:pt x="0" y="540542"/>
                </a:cubicBezTo>
                <a:lnTo>
                  <a:pt x="0" y="540543"/>
                </a:lnTo>
                <a:close/>
              </a:path>
            </a:pathLst>
          </a:custGeom>
          <a:solidFill>
            <a:srgbClr val="FFFFFF"/>
          </a:solidFill>
          <a:ln w="19046" cap="rnd">
            <a:solidFill>
              <a:schemeClr val="tx1"/>
            </a:solidFill>
            <a:miter lim="800000"/>
            <a:headEnd/>
            <a:tailEnd/>
          </a:ln>
        </p:spPr>
        <p:txBody>
          <a:bodyPr anchor="ctr" anchorCtr="1"/>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it-IT" altLang="it-IT" b="1" i="1" dirty="0">
                <a:solidFill>
                  <a:srgbClr val="030809"/>
                </a:solidFill>
                <a:latin typeface="Century Gothic" panose="020B0502020202020204" pitchFamily="34" charset="0"/>
              </a:rPr>
              <a:t>45,8%</a:t>
            </a:r>
          </a:p>
        </p:txBody>
      </p:sp>
      <p:sp>
        <p:nvSpPr>
          <p:cNvPr id="118792" name="Ovale 10">
            <a:extLst>
              <a:ext uri="{FF2B5EF4-FFF2-40B4-BE49-F238E27FC236}">
                <a16:creationId xmlns:a16="http://schemas.microsoft.com/office/drawing/2014/main" id="{55388198-9F8C-214C-A212-9B8ADE90622E}"/>
              </a:ext>
            </a:extLst>
          </p:cNvPr>
          <p:cNvSpPr>
            <a:spLocks/>
          </p:cNvSpPr>
          <p:nvPr/>
        </p:nvSpPr>
        <p:spPr bwMode="auto">
          <a:xfrm>
            <a:off x="5735639" y="5157788"/>
            <a:ext cx="1368425" cy="1079500"/>
          </a:xfrm>
          <a:custGeom>
            <a:avLst/>
            <a:gdLst>
              <a:gd name="T0" fmla="*/ 684213 w 1368427"/>
              <a:gd name="T1" fmla="*/ 0 h 1079504"/>
              <a:gd name="T2" fmla="*/ 1368425 w 1368427"/>
              <a:gd name="T3" fmla="*/ 539750 h 1079504"/>
              <a:gd name="T4" fmla="*/ 684213 w 1368427"/>
              <a:gd name="T5" fmla="*/ 1079500 h 1079504"/>
              <a:gd name="T6" fmla="*/ 0 w 1368427"/>
              <a:gd name="T7" fmla="*/ 539750 h 1079504"/>
              <a:gd name="T8" fmla="*/ 200401 w 1368427"/>
              <a:gd name="T9" fmla="*/ 158089 h 1079504"/>
              <a:gd name="T10" fmla="*/ 200401 w 1368427"/>
              <a:gd name="T11" fmla="*/ 921411 h 1079504"/>
              <a:gd name="T12" fmla="*/ 1168024 w 1368427"/>
              <a:gd name="T13" fmla="*/ 921411 h 1079504"/>
              <a:gd name="T14" fmla="*/ 1168024 w 1368427"/>
              <a:gd name="T15" fmla="*/ 158089 h 1079504"/>
              <a:gd name="T16" fmla="*/ 17694720 60000 65536"/>
              <a:gd name="T17" fmla="*/ 0 60000 65536"/>
              <a:gd name="T18" fmla="*/ 5898240 60000 65536"/>
              <a:gd name="T19" fmla="*/ 11796480 60000 65536"/>
              <a:gd name="T20" fmla="*/ 17694720 60000 65536"/>
              <a:gd name="T21" fmla="*/ 5898240 60000 65536"/>
              <a:gd name="T22" fmla="*/ 5898240 60000 65536"/>
              <a:gd name="T23" fmla="*/ 17694720 60000 65536"/>
              <a:gd name="T24" fmla="*/ 200401 w 1368427"/>
              <a:gd name="T25" fmla="*/ 158090 h 1079504"/>
              <a:gd name="T26" fmla="*/ 1168026 w 1368427"/>
              <a:gd name="T27" fmla="*/ 921414 h 107950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68427" h="1079504">
                <a:moveTo>
                  <a:pt x="0" y="539752"/>
                </a:moveTo>
                <a:lnTo>
                  <a:pt x="0" y="539752"/>
                </a:lnTo>
                <a:cubicBezTo>
                  <a:pt x="0" y="837848"/>
                  <a:pt x="306333" y="1079504"/>
                  <a:pt x="684214" y="1079504"/>
                </a:cubicBezTo>
                <a:cubicBezTo>
                  <a:pt x="1062094" y="1079504"/>
                  <a:pt x="1368428" y="837848"/>
                  <a:pt x="1368428" y="539752"/>
                </a:cubicBezTo>
                <a:cubicBezTo>
                  <a:pt x="1368428" y="241655"/>
                  <a:pt x="1062094" y="0"/>
                  <a:pt x="684214" y="0"/>
                </a:cubicBezTo>
                <a:cubicBezTo>
                  <a:pt x="306333" y="0"/>
                  <a:pt x="0" y="241655"/>
                  <a:pt x="0" y="539751"/>
                </a:cubicBezTo>
                <a:lnTo>
                  <a:pt x="0" y="539752"/>
                </a:lnTo>
                <a:close/>
              </a:path>
            </a:pathLst>
          </a:custGeom>
          <a:solidFill>
            <a:schemeClr val="accent6">
              <a:lumMod val="20000"/>
              <a:lumOff val="80000"/>
            </a:schemeClr>
          </a:solidFill>
          <a:ln w="19046" cap="rnd">
            <a:solidFill>
              <a:srgbClr val="0070C0"/>
            </a:solidFill>
            <a:miter lim="800000"/>
            <a:headEnd/>
            <a:tailEnd/>
          </a:ln>
        </p:spPr>
        <p:txBody>
          <a:bodyPr anchor="ctr" anchorCtr="1"/>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it-IT" altLang="it-IT" b="1" i="1" dirty="0">
                <a:solidFill>
                  <a:srgbClr val="030809"/>
                </a:solidFill>
                <a:latin typeface="Century Gothic" panose="020B0502020202020204" pitchFamily="34" charset="0"/>
              </a:rPr>
              <a:t>50%</a:t>
            </a:r>
          </a:p>
        </p:txBody>
      </p:sp>
      <p:sp>
        <p:nvSpPr>
          <p:cNvPr id="118793" name="CasellaDiTesto 11">
            <a:extLst>
              <a:ext uri="{FF2B5EF4-FFF2-40B4-BE49-F238E27FC236}">
                <a16:creationId xmlns:a16="http://schemas.microsoft.com/office/drawing/2014/main" id="{36309BB5-2678-6C45-B974-AB2D9F80A229}"/>
              </a:ext>
            </a:extLst>
          </p:cNvPr>
          <p:cNvSpPr txBox="1">
            <a:spLocks noChangeArrowheads="1"/>
          </p:cNvSpPr>
          <p:nvPr/>
        </p:nvSpPr>
        <p:spPr bwMode="auto">
          <a:xfrm>
            <a:off x="3579813" y="5445126"/>
            <a:ext cx="17272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it-IT" altLang="it-IT" sz="1200" b="1">
                <a:latin typeface="Century Gothic" panose="020B0502020202020204" pitchFamily="34" charset="0"/>
              </a:rPr>
              <a:t>Numero medio dei pazienti aderenti</a:t>
            </a:r>
          </a:p>
        </p:txBody>
      </p:sp>
      <p:sp>
        <p:nvSpPr>
          <p:cNvPr id="118794" name="CasellaDiTesto 12">
            <a:extLst>
              <a:ext uri="{FF2B5EF4-FFF2-40B4-BE49-F238E27FC236}">
                <a16:creationId xmlns:a16="http://schemas.microsoft.com/office/drawing/2014/main" id="{694247C1-0766-8842-96ED-94E882273291}"/>
              </a:ext>
            </a:extLst>
          </p:cNvPr>
          <p:cNvSpPr txBox="1">
            <a:spLocks noChangeArrowheads="1"/>
          </p:cNvSpPr>
          <p:nvPr/>
        </p:nvSpPr>
        <p:spPr bwMode="auto">
          <a:xfrm>
            <a:off x="7223125" y="5394326"/>
            <a:ext cx="2592388"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it-IT" altLang="it-IT" sz="1200" b="1">
                <a:latin typeface="Century Gothic" panose="020B0502020202020204" pitchFamily="34" charset="0"/>
              </a:rPr>
              <a:t>Valore superato solo dagli antipertensivi e antidiabetici</a:t>
            </a:r>
          </a:p>
        </p:txBody>
      </p:sp>
      <p:sp>
        <p:nvSpPr>
          <p:cNvPr id="118795" name="CasellaDiTesto 1">
            <a:extLst>
              <a:ext uri="{FF2B5EF4-FFF2-40B4-BE49-F238E27FC236}">
                <a16:creationId xmlns:a16="http://schemas.microsoft.com/office/drawing/2014/main" id="{84A84D54-C384-5340-9375-EA5C0A708C6B}"/>
              </a:ext>
            </a:extLst>
          </p:cNvPr>
          <p:cNvSpPr txBox="1">
            <a:spLocks noChangeArrowheads="1"/>
          </p:cNvSpPr>
          <p:nvPr/>
        </p:nvSpPr>
        <p:spPr bwMode="auto">
          <a:xfrm>
            <a:off x="7716838" y="6465415"/>
            <a:ext cx="424815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r" eaLnBrk="1"/>
            <a:r>
              <a:rPr lang="it-IT" altLang="it-IT" sz="1200" dirty="0">
                <a:solidFill>
                  <a:schemeClr val="tx2"/>
                </a:solidFill>
                <a:latin typeface="Century Gothic" panose="020B0502020202020204" pitchFamily="34" charset="0"/>
              </a:rPr>
              <a:t>Rapporto </a:t>
            </a:r>
            <a:r>
              <a:rPr lang="it-IT" altLang="it-IT" sz="1200" dirty="0" err="1">
                <a:solidFill>
                  <a:schemeClr val="tx2"/>
                </a:solidFill>
                <a:latin typeface="Century Gothic" panose="020B0502020202020204" pitchFamily="34" charset="0"/>
              </a:rPr>
              <a:t>Osmed</a:t>
            </a:r>
            <a:r>
              <a:rPr lang="it-IT" altLang="it-IT" sz="1200" dirty="0">
                <a:solidFill>
                  <a:schemeClr val="tx2"/>
                </a:solidFill>
                <a:latin typeface="Century Gothic" panose="020B0502020202020204" pitchFamily="34" charset="0"/>
              </a:rPr>
              <a:t>-AIFA - 2014</a:t>
            </a:r>
          </a:p>
        </p:txBody>
      </p:sp>
      <p:sp>
        <p:nvSpPr>
          <p:cNvPr id="2" name="CasellaDiTesto 1">
            <a:extLst>
              <a:ext uri="{FF2B5EF4-FFF2-40B4-BE49-F238E27FC236}">
                <a16:creationId xmlns:a16="http://schemas.microsoft.com/office/drawing/2014/main" id="{51E9BDEC-B526-BE4A-93AB-B5085DD3146D}"/>
              </a:ext>
            </a:extLst>
          </p:cNvPr>
          <p:cNvSpPr txBox="1"/>
          <p:nvPr/>
        </p:nvSpPr>
        <p:spPr>
          <a:xfrm>
            <a:off x="824476" y="951611"/>
            <a:ext cx="10543045" cy="584775"/>
          </a:xfrm>
          <a:prstGeom prst="rect">
            <a:avLst/>
          </a:prstGeom>
          <a:noFill/>
        </p:spPr>
        <p:txBody>
          <a:bodyPr wrap="square" rtlCol="0">
            <a:spAutoFit/>
          </a:bodyPr>
          <a:lstStyle/>
          <a:p>
            <a:pPr algn="ctr"/>
            <a:r>
              <a:rPr lang="it-IT" altLang="it-IT" dirty="0"/>
              <a:t>Dalle analisi emerge come meno della metà dei pazienti segue le prescrizioni</a:t>
            </a:r>
          </a:p>
          <a:p>
            <a:pPr algn="ctr"/>
            <a:r>
              <a:rPr lang="it-IT" sz="1400" dirty="0">
                <a:solidFill>
                  <a:schemeClr val="tx2"/>
                </a:solidFill>
              </a:rPr>
              <a:t>L’OSMED considera aderente il paziente che assume il farmaco per l’80% delle giornate di terapia</a:t>
            </a:r>
          </a:p>
        </p:txBody>
      </p:sp>
    </p:spTree>
    <p:extLst>
      <p:ext uri="{BB962C8B-B14F-4D97-AF65-F5344CB8AC3E}">
        <p14:creationId xmlns:p14="http://schemas.microsoft.com/office/powerpoint/2010/main" val="2624847516"/>
      </p:ext>
    </p:extLst>
  </p:cSld>
  <p:clrMapOvr>
    <a:masterClrMapping/>
  </p:clrMapOvr>
  <p:transition spd="slow"/>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magine 5">
            <a:extLst>
              <a:ext uri="{FF2B5EF4-FFF2-40B4-BE49-F238E27FC236}">
                <a16:creationId xmlns:a16="http://schemas.microsoft.com/office/drawing/2014/main" id="{9FF29C04-CDD9-C340-AE8B-11B66876FB84}"/>
              </a:ext>
            </a:extLst>
          </p:cNvPr>
          <p:cNvPicPr>
            <a:picLocks noChangeAspect="1"/>
          </p:cNvPicPr>
          <p:nvPr/>
        </p:nvPicPr>
        <p:blipFill>
          <a:blip r:embed="rId3">
            <a:duotone>
              <a:schemeClr val="accent6">
                <a:shade val="45000"/>
                <a:satMod val="135000"/>
              </a:schemeClr>
              <a:prstClr val="white"/>
            </a:duotone>
            <a:alphaModFix amt="30000"/>
            <a:extLst>
              <a:ext uri="{BEBA8EAE-BF5A-486C-A8C5-ECC9F3942E4B}">
                <a14:imgProps xmlns:a14="http://schemas.microsoft.com/office/drawing/2010/main">
                  <a14:imgLayer r:embed="rId4">
                    <a14:imgEffect>
                      <a14:colorTemperature colorTemp="1500"/>
                    </a14:imgEffect>
                    <a14:imgEffect>
                      <a14:saturation sat="0"/>
                    </a14:imgEffect>
                  </a14:imgLayer>
                </a14:imgProps>
              </a:ext>
            </a:extLst>
          </a:blip>
          <a:stretch>
            <a:fillRect/>
          </a:stretch>
        </p:blipFill>
        <p:spPr>
          <a:xfrm>
            <a:off x="0" y="0"/>
            <a:ext cx="12199171" cy="6858000"/>
          </a:xfrm>
          <a:prstGeom prst="rect">
            <a:avLst/>
          </a:prstGeom>
          <a:solidFill>
            <a:srgbClr val="FFFFFF"/>
          </a:solidFill>
          <a:ln>
            <a:solidFill>
              <a:schemeClr val="bg1"/>
            </a:solidFill>
          </a:ln>
        </p:spPr>
      </p:pic>
      <p:sp>
        <p:nvSpPr>
          <p:cNvPr id="119809" name="Titolo 14">
            <a:extLst>
              <a:ext uri="{FF2B5EF4-FFF2-40B4-BE49-F238E27FC236}">
                <a16:creationId xmlns:a16="http://schemas.microsoft.com/office/drawing/2014/main" id="{A3F680C8-6FB9-5642-BF2B-209563CD3C70}"/>
              </a:ext>
            </a:extLst>
          </p:cNvPr>
          <p:cNvSpPr>
            <a:spLocks noChangeArrowheads="1"/>
          </p:cNvSpPr>
          <p:nvPr/>
        </p:nvSpPr>
        <p:spPr bwMode="auto">
          <a:xfrm>
            <a:off x="1491738" y="278659"/>
            <a:ext cx="9208524" cy="1090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it-IT" altLang="it-IT" sz="2000" dirty="0">
                <a:solidFill>
                  <a:srgbClr val="000000"/>
                </a:solidFill>
                <a:latin typeface="+mn-lt"/>
                <a:ea typeface="ＭＳ Ｐゴシック" panose="020B0600070205080204" pitchFamily="34" charset="-128"/>
                <a:cs typeface="Arial" panose="020B0604020202020204" pitchFamily="34" charset="0"/>
              </a:rPr>
              <a:t>ADERENZA AL TRATTAMENTO</a:t>
            </a:r>
          </a:p>
          <a:p>
            <a:pPr algn="ctr" eaLnBrk="1" hangingPunct="1"/>
            <a:r>
              <a:rPr lang="it-IT" altLang="it-IT" sz="2400" dirty="0">
                <a:solidFill>
                  <a:srgbClr val="000000"/>
                </a:solidFill>
                <a:latin typeface="+mn-lt"/>
                <a:ea typeface="ＭＳ Ｐゴシック" panose="020B0600070205080204" pitchFamily="34" charset="-128"/>
                <a:cs typeface="Arial" panose="020B0604020202020204" pitchFamily="34" charset="0"/>
              </a:rPr>
              <a:t>IL NUMERO DI TERAPIE CONCOMITANTI COME FATTORE CONDIZIONANTE</a:t>
            </a:r>
          </a:p>
        </p:txBody>
      </p:sp>
      <p:pic>
        <p:nvPicPr>
          <p:cNvPr id="119810" name="Immagine 20">
            <a:extLst>
              <a:ext uri="{FF2B5EF4-FFF2-40B4-BE49-F238E27FC236}">
                <a16:creationId xmlns:a16="http://schemas.microsoft.com/office/drawing/2014/main" id="{31F73EDA-9030-814F-BD2B-95AAD1543836}"/>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519298" y="2016893"/>
            <a:ext cx="9153403" cy="33810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9811" name="Titolo 3">
            <a:extLst>
              <a:ext uri="{FF2B5EF4-FFF2-40B4-BE49-F238E27FC236}">
                <a16:creationId xmlns:a16="http://schemas.microsoft.com/office/drawing/2014/main" id="{44B62ECC-6718-8C4D-BA78-73AE1245953B}"/>
              </a:ext>
            </a:extLst>
          </p:cNvPr>
          <p:cNvSpPr txBox="1">
            <a:spLocks noChangeArrowheads="1"/>
          </p:cNvSpPr>
          <p:nvPr/>
        </p:nvSpPr>
        <p:spPr bwMode="auto">
          <a:xfrm>
            <a:off x="5383161" y="6154494"/>
            <a:ext cx="6591044" cy="625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lvl1pPr defTabSz="339725">
              <a:defRPr>
                <a:solidFill>
                  <a:schemeClr val="tx1"/>
                </a:solidFill>
                <a:latin typeface="Calibri" panose="020F0502020204030204" pitchFamily="34" charset="0"/>
              </a:defRPr>
            </a:lvl1pPr>
            <a:lvl2pPr marL="742950" indent="-285750" defTabSz="339725">
              <a:defRPr>
                <a:solidFill>
                  <a:schemeClr val="tx1"/>
                </a:solidFill>
                <a:latin typeface="Calibri" panose="020F0502020204030204" pitchFamily="34" charset="0"/>
              </a:defRPr>
            </a:lvl2pPr>
            <a:lvl3pPr marL="1143000" indent="-228600" defTabSz="339725">
              <a:defRPr>
                <a:solidFill>
                  <a:schemeClr val="tx1"/>
                </a:solidFill>
                <a:latin typeface="Calibri" panose="020F0502020204030204" pitchFamily="34" charset="0"/>
              </a:defRPr>
            </a:lvl3pPr>
            <a:lvl4pPr marL="1600200" indent="-228600" defTabSz="339725">
              <a:defRPr>
                <a:solidFill>
                  <a:schemeClr val="tx1"/>
                </a:solidFill>
                <a:latin typeface="Calibri" panose="020F0502020204030204" pitchFamily="34" charset="0"/>
              </a:defRPr>
            </a:lvl4pPr>
            <a:lvl5pPr marL="2057400" indent="-228600" defTabSz="339725">
              <a:defRPr>
                <a:solidFill>
                  <a:schemeClr val="tx1"/>
                </a:solidFill>
                <a:latin typeface="Calibri" panose="020F0502020204030204" pitchFamily="34" charset="0"/>
              </a:defRPr>
            </a:lvl5pPr>
            <a:lvl6pPr marL="2514600" indent="-228600" defTabSz="339725" eaLnBrk="0" fontAlgn="base" hangingPunct="0">
              <a:spcBef>
                <a:spcPct val="0"/>
              </a:spcBef>
              <a:spcAft>
                <a:spcPct val="0"/>
              </a:spcAft>
              <a:defRPr>
                <a:solidFill>
                  <a:schemeClr val="tx1"/>
                </a:solidFill>
                <a:latin typeface="Calibri" panose="020F0502020204030204" pitchFamily="34" charset="0"/>
              </a:defRPr>
            </a:lvl6pPr>
            <a:lvl7pPr marL="2971800" indent="-228600" defTabSz="339725" eaLnBrk="0" fontAlgn="base" hangingPunct="0">
              <a:spcBef>
                <a:spcPct val="0"/>
              </a:spcBef>
              <a:spcAft>
                <a:spcPct val="0"/>
              </a:spcAft>
              <a:defRPr>
                <a:solidFill>
                  <a:schemeClr val="tx1"/>
                </a:solidFill>
                <a:latin typeface="Calibri" panose="020F0502020204030204" pitchFamily="34" charset="0"/>
              </a:defRPr>
            </a:lvl7pPr>
            <a:lvl8pPr marL="3429000" indent="-228600" defTabSz="339725" eaLnBrk="0" fontAlgn="base" hangingPunct="0">
              <a:spcBef>
                <a:spcPct val="0"/>
              </a:spcBef>
              <a:spcAft>
                <a:spcPct val="0"/>
              </a:spcAft>
              <a:defRPr>
                <a:solidFill>
                  <a:schemeClr val="tx1"/>
                </a:solidFill>
                <a:latin typeface="Calibri" panose="020F0502020204030204" pitchFamily="34" charset="0"/>
              </a:defRPr>
            </a:lvl8pPr>
            <a:lvl9pPr marL="3886200" indent="-228600" defTabSz="339725" eaLnBrk="0" fontAlgn="base" hangingPunct="0">
              <a:spcBef>
                <a:spcPct val="0"/>
              </a:spcBef>
              <a:spcAft>
                <a:spcPct val="0"/>
              </a:spcAft>
              <a:defRPr>
                <a:solidFill>
                  <a:schemeClr val="tx1"/>
                </a:solidFill>
                <a:latin typeface="Calibri" panose="020F0502020204030204" pitchFamily="34" charset="0"/>
              </a:defRPr>
            </a:lvl9pPr>
          </a:lstStyle>
          <a:p>
            <a:pPr algn="r" eaLnBrk="1" hangingPunct="1"/>
            <a:r>
              <a:rPr lang="it-IT" altLang="it-IT" sz="1200" dirty="0" err="1">
                <a:solidFill>
                  <a:schemeClr val="tx2"/>
                </a:solidFill>
                <a:latin typeface="+mn-lt"/>
                <a:ea typeface="ＭＳ Ｐゴシック" panose="020B0600070205080204" pitchFamily="34" charset="-128"/>
                <a:cs typeface="Arial" panose="020B0604020202020204" pitchFamily="34" charset="0"/>
              </a:rPr>
              <a:t>Onder</a:t>
            </a:r>
            <a:r>
              <a:rPr lang="it-IT" altLang="it-IT" sz="1200" dirty="0">
                <a:solidFill>
                  <a:schemeClr val="tx2"/>
                </a:solidFill>
                <a:latin typeface="+mn-lt"/>
                <a:ea typeface="ＭＳ Ｐゴシック" panose="020B0600070205080204" pitchFamily="34" charset="-128"/>
                <a:cs typeface="Arial" panose="020B0604020202020204" pitchFamily="34" charset="0"/>
              </a:rPr>
              <a:t> G. Advanced Age and </a:t>
            </a:r>
            <a:r>
              <a:rPr lang="it-IT" altLang="it-IT" sz="1200" dirty="0" err="1">
                <a:solidFill>
                  <a:schemeClr val="tx2"/>
                </a:solidFill>
                <a:latin typeface="+mn-lt"/>
                <a:ea typeface="ＭＳ Ｐゴシック" panose="020B0600070205080204" pitchFamily="34" charset="-128"/>
                <a:cs typeface="Arial" panose="020B0604020202020204" pitchFamily="34" charset="0"/>
              </a:rPr>
              <a:t>Medication</a:t>
            </a:r>
            <a:r>
              <a:rPr lang="it-IT" altLang="it-IT" sz="1200" dirty="0">
                <a:solidFill>
                  <a:schemeClr val="tx2"/>
                </a:solidFill>
                <a:latin typeface="+mn-lt"/>
                <a:ea typeface="ＭＳ Ｐゴシック" panose="020B0600070205080204" pitchFamily="34" charset="-128"/>
                <a:cs typeface="Arial" panose="020B0604020202020204" pitchFamily="34" charset="0"/>
              </a:rPr>
              <a:t> </a:t>
            </a:r>
            <a:r>
              <a:rPr lang="it-IT" altLang="it-IT" sz="1200" dirty="0" err="1">
                <a:solidFill>
                  <a:schemeClr val="tx2"/>
                </a:solidFill>
                <a:latin typeface="+mn-lt"/>
                <a:ea typeface="ＭＳ Ｐゴシック" panose="020B0600070205080204" pitchFamily="34" charset="-128"/>
                <a:cs typeface="Arial" panose="020B0604020202020204" pitchFamily="34" charset="0"/>
              </a:rPr>
              <a:t>Prescription</a:t>
            </a:r>
            <a:r>
              <a:rPr lang="it-IT" altLang="it-IT" sz="1200" dirty="0">
                <a:solidFill>
                  <a:schemeClr val="tx2"/>
                </a:solidFill>
                <a:latin typeface="+mn-lt"/>
                <a:ea typeface="ＭＳ Ｐゴシック" panose="020B0600070205080204" pitchFamily="34" charset="-128"/>
                <a:cs typeface="Arial" panose="020B0604020202020204" pitchFamily="34" charset="0"/>
              </a:rPr>
              <a:t>: More </a:t>
            </a:r>
            <a:r>
              <a:rPr lang="it-IT" altLang="it-IT" sz="1200" dirty="0" err="1">
                <a:solidFill>
                  <a:schemeClr val="tx2"/>
                </a:solidFill>
                <a:latin typeface="+mn-lt"/>
                <a:ea typeface="ＭＳ Ｐゴシック" panose="020B0600070205080204" pitchFamily="34" charset="-128"/>
                <a:cs typeface="Arial" panose="020B0604020202020204" pitchFamily="34" charset="0"/>
              </a:rPr>
              <a:t>Years</a:t>
            </a:r>
            <a:r>
              <a:rPr lang="it-IT" altLang="it-IT" sz="1200" dirty="0">
                <a:solidFill>
                  <a:schemeClr val="tx2"/>
                </a:solidFill>
                <a:latin typeface="+mn-lt"/>
                <a:ea typeface="ＭＳ Ｐゴシック" panose="020B0600070205080204" pitchFamily="34" charset="-128"/>
                <a:cs typeface="Arial" panose="020B0604020202020204" pitchFamily="34" charset="0"/>
              </a:rPr>
              <a:t>, </a:t>
            </a:r>
            <a:r>
              <a:rPr lang="it-IT" altLang="it-IT" sz="1200" dirty="0" err="1">
                <a:solidFill>
                  <a:schemeClr val="tx2"/>
                </a:solidFill>
                <a:latin typeface="+mn-lt"/>
                <a:ea typeface="ＭＳ Ｐゴシック" panose="020B0600070205080204" pitchFamily="34" charset="-128"/>
                <a:cs typeface="Arial" panose="020B0604020202020204" pitchFamily="34" charset="0"/>
              </a:rPr>
              <a:t>Less</a:t>
            </a:r>
            <a:r>
              <a:rPr lang="it-IT" altLang="it-IT" sz="1200" dirty="0">
                <a:solidFill>
                  <a:schemeClr val="tx2"/>
                </a:solidFill>
                <a:latin typeface="+mn-lt"/>
                <a:ea typeface="ＭＳ Ｐゴシック" panose="020B0600070205080204" pitchFamily="34" charset="-128"/>
                <a:cs typeface="Arial" panose="020B0604020202020204" pitchFamily="34" charset="0"/>
              </a:rPr>
              <a:t> </a:t>
            </a:r>
            <a:r>
              <a:rPr lang="it-IT" altLang="it-IT" sz="1200" dirty="0" err="1">
                <a:solidFill>
                  <a:schemeClr val="tx2"/>
                </a:solidFill>
                <a:latin typeface="+mn-lt"/>
                <a:ea typeface="ＭＳ Ｐゴシック" panose="020B0600070205080204" pitchFamily="34" charset="-128"/>
                <a:cs typeface="Arial" panose="020B0604020202020204" pitchFamily="34" charset="0"/>
              </a:rPr>
              <a:t>Medications</a:t>
            </a:r>
            <a:r>
              <a:rPr lang="it-IT" altLang="it-IT" sz="1200" dirty="0">
                <a:solidFill>
                  <a:schemeClr val="tx2"/>
                </a:solidFill>
                <a:latin typeface="+mn-lt"/>
                <a:ea typeface="ＭＳ Ｐゴシック" panose="020B0600070205080204" pitchFamily="34" charset="-128"/>
                <a:cs typeface="Arial" panose="020B0604020202020204" pitchFamily="34" charset="0"/>
              </a:rPr>
              <a:t>? A Nationwide Report From the </a:t>
            </a:r>
            <a:r>
              <a:rPr lang="it-IT" altLang="it-IT" sz="1200" dirty="0" err="1">
                <a:solidFill>
                  <a:schemeClr val="tx2"/>
                </a:solidFill>
                <a:latin typeface="+mn-lt"/>
                <a:ea typeface="ＭＳ Ｐゴシック" panose="020B0600070205080204" pitchFamily="34" charset="-128"/>
                <a:cs typeface="Arial" panose="020B0604020202020204" pitchFamily="34" charset="0"/>
              </a:rPr>
              <a:t>Italian</a:t>
            </a:r>
            <a:r>
              <a:rPr lang="it-IT" altLang="it-IT" sz="1200" dirty="0">
                <a:solidFill>
                  <a:schemeClr val="tx2"/>
                </a:solidFill>
                <a:latin typeface="+mn-lt"/>
                <a:ea typeface="ＭＳ Ｐゴシック" panose="020B0600070205080204" pitchFamily="34" charset="-128"/>
                <a:cs typeface="Arial" panose="020B0604020202020204" pitchFamily="34" charset="0"/>
              </a:rPr>
              <a:t> </a:t>
            </a:r>
            <a:r>
              <a:rPr lang="it-IT" altLang="it-IT" sz="1200" dirty="0" err="1">
                <a:solidFill>
                  <a:schemeClr val="tx2"/>
                </a:solidFill>
                <a:latin typeface="+mn-lt"/>
                <a:ea typeface="ＭＳ Ｐゴシック" panose="020B0600070205080204" pitchFamily="34" charset="-128"/>
                <a:cs typeface="Arial" panose="020B0604020202020204" pitchFamily="34" charset="0"/>
              </a:rPr>
              <a:t>Medicines</a:t>
            </a:r>
            <a:r>
              <a:rPr lang="it-IT" altLang="it-IT" sz="1200" dirty="0">
                <a:solidFill>
                  <a:schemeClr val="tx2"/>
                </a:solidFill>
                <a:latin typeface="+mn-lt"/>
                <a:ea typeface="ＭＳ Ｐゴシック" panose="020B0600070205080204" pitchFamily="34" charset="-128"/>
                <a:cs typeface="Arial" panose="020B0604020202020204" pitchFamily="34" charset="0"/>
              </a:rPr>
              <a:t> Agency. JAMDA 2015.</a:t>
            </a:r>
          </a:p>
        </p:txBody>
      </p:sp>
    </p:spTree>
    <p:extLst>
      <p:ext uri="{BB962C8B-B14F-4D97-AF65-F5344CB8AC3E}">
        <p14:creationId xmlns:p14="http://schemas.microsoft.com/office/powerpoint/2010/main" val="328548741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7" name="CasellaDiTesto 1">
            <a:extLst>
              <a:ext uri="{FF2B5EF4-FFF2-40B4-BE49-F238E27FC236}">
                <a16:creationId xmlns:a16="http://schemas.microsoft.com/office/drawing/2014/main" id="{CC3534BA-85D7-F84F-B0C4-89DD2437FE70}"/>
              </a:ext>
            </a:extLst>
          </p:cNvPr>
          <p:cNvSpPr txBox="1">
            <a:spLocks noChangeArrowheads="1"/>
          </p:cNvSpPr>
          <p:nvPr/>
        </p:nvSpPr>
        <p:spPr bwMode="auto">
          <a:xfrm>
            <a:off x="907819" y="1331023"/>
            <a:ext cx="11284181" cy="3425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r>
              <a:rPr lang="it-IT" altLang="it-IT" dirty="0">
                <a:latin typeface="Century Gothic" panose="020B0502020202020204" pitchFamily="34" charset="0"/>
              </a:rPr>
              <a:t>L’I-MUR (Medicine Use </a:t>
            </a:r>
            <a:r>
              <a:rPr lang="it-IT" altLang="it-IT" dirty="0" err="1">
                <a:latin typeface="Century Gothic" panose="020B0502020202020204" pitchFamily="34" charset="0"/>
              </a:rPr>
              <a:t>Review</a:t>
            </a:r>
            <a:r>
              <a:rPr lang="it-IT" altLang="it-IT" dirty="0">
                <a:latin typeface="Century Gothic" panose="020B0502020202020204" pitchFamily="34" charset="0"/>
              </a:rPr>
              <a:t>) è la prestazione resa dal</a:t>
            </a:r>
            <a:r>
              <a:rPr lang="it-IT" altLang="it-IT" b="1" dirty="0">
                <a:latin typeface="Century Gothic" panose="020B0502020202020204" pitchFamily="34" charset="0"/>
              </a:rPr>
              <a:t> farmacista </a:t>
            </a:r>
            <a:r>
              <a:rPr lang="it-IT" altLang="it-IT" dirty="0">
                <a:latin typeface="Century Gothic" panose="020B0502020202020204" pitchFamily="34" charset="0"/>
              </a:rPr>
              <a:t>per migliorare la comprensione dell’</a:t>
            </a:r>
            <a:r>
              <a:rPr lang="it-IT" altLang="it-IT" u="sng" dirty="0">
                <a:latin typeface="Century Gothic" panose="020B0502020202020204" pitchFamily="34" charset="0"/>
              </a:rPr>
              <a:t>uso dei medicinali </a:t>
            </a:r>
            <a:r>
              <a:rPr lang="it-IT" altLang="it-IT" dirty="0">
                <a:latin typeface="Century Gothic" panose="020B0502020202020204" pitchFamily="34" charset="0"/>
              </a:rPr>
              <a:t>da parte del paziente e l’</a:t>
            </a:r>
            <a:r>
              <a:rPr lang="it-IT" altLang="it-IT" u="sng" dirty="0">
                <a:latin typeface="Century Gothic" panose="020B0502020202020204" pitchFamily="34" charset="0"/>
              </a:rPr>
              <a:t>aderenza alla terapia </a:t>
            </a:r>
          </a:p>
          <a:p>
            <a:pPr algn="ctr" eaLnBrk="1"/>
            <a:endParaRPr lang="it-IT" altLang="it-IT" dirty="0">
              <a:latin typeface="Century Gothic" panose="020B0502020202020204" pitchFamily="34" charset="0"/>
            </a:endParaRPr>
          </a:p>
          <a:p>
            <a:pPr algn="ctr" eaLnBrk="1"/>
            <a:endParaRPr lang="it-IT" altLang="it-IT" sz="1600" dirty="0">
              <a:latin typeface="Century Gothic" panose="020B0502020202020204" pitchFamily="34" charset="0"/>
            </a:endParaRPr>
          </a:p>
          <a:p>
            <a:pPr marL="285750" indent="-285750" eaLnBrk="1">
              <a:lnSpc>
                <a:spcPct val="150000"/>
              </a:lnSpc>
              <a:buSzPct val="100000"/>
              <a:buFont typeface="Wingdings" pitchFamily="2" charset="2"/>
              <a:buChar char="ü"/>
            </a:pPr>
            <a:r>
              <a:rPr lang="it-IT" altLang="it-IT" sz="1600" b="1" dirty="0">
                <a:latin typeface="Century Gothic" panose="020B0502020202020204" pitchFamily="34" charset="0"/>
              </a:rPr>
              <a:t>aumento dell’aderenza alla terapia del 40% a sei mesi</a:t>
            </a:r>
          </a:p>
          <a:p>
            <a:pPr marL="285750" indent="-285750" eaLnBrk="1">
              <a:lnSpc>
                <a:spcPct val="150000"/>
              </a:lnSpc>
              <a:buSzPct val="100000"/>
              <a:buFont typeface="Wingdings" pitchFamily="2" charset="2"/>
              <a:buChar char="ü"/>
            </a:pPr>
            <a:r>
              <a:rPr lang="it-IT" altLang="it-IT" sz="1600" dirty="0">
                <a:latin typeface="Century Gothic" panose="020B0502020202020204" pitchFamily="34" charset="0"/>
              </a:rPr>
              <a:t>aumento del numero dei pazienti con </a:t>
            </a:r>
            <a:r>
              <a:rPr lang="it-IT" altLang="it-IT" sz="1600" b="1" dirty="0">
                <a:latin typeface="Century Gothic" panose="020B0502020202020204" pitchFamily="34" charset="0"/>
              </a:rPr>
              <a:t>asma controllata in media del 25%</a:t>
            </a:r>
          </a:p>
          <a:p>
            <a:pPr marL="285750" indent="-285750" eaLnBrk="1">
              <a:lnSpc>
                <a:spcPct val="150000"/>
              </a:lnSpc>
              <a:buSzPct val="100000"/>
              <a:buFont typeface="Wingdings" pitchFamily="2" charset="2"/>
              <a:buChar char="ü"/>
            </a:pPr>
            <a:r>
              <a:rPr lang="it-IT" altLang="it-IT" sz="1600" dirty="0">
                <a:latin typeface="Century Gothic" panose="020B0502020202020204" pitchFamily="34" charset="0"/>
              </a:rPr>
              <a:t>l’intervento del farmacista è costo efficace, richiede cioè un investimento inferiore al risparmio che può determinare.</a:t>
            </a:r>
            <a:r>
              <a:rPr lang="it-IT" altLang="it-IT" dirty="0">
                <a:latin typeface="Century Gothic" panose="020B0502020202020204" pitchFamily="34" charset="0"/>
              </a:rPr>
              <a:t/>
            </a:r>
            <a:br>
              <a:rPr lang="it-IT" altLang="it-IT" dirty="0">
                <a:latin typeface="Century Gothic" panose="020B0502020202020204" pitchFamily="34" charset="0"/>
              </a:rPr>
            </a:br>
            <a:r>
              <a:rPr lang="it-IT" altLang="it-IT" dirty="0">
                <a:latin typeface="Century Gothic" panose="020B0502020202020204" pitchFamily="34" charset="0"/>
              </a:rPr>
              <a:t/>
            </a:r>
            <a:br>
              <a:rPr lang="it-IT" altLang="it-IT" dirty="0">
                <a:latin typeface="Century Gothic" panose="020B0502020202020204" pitchFamily="34" charset="0"/>
              </a:rPr>
            </a:br>
            <a:endParaRPr lang="it-IT" altLang="it-IT" dirty="0">
              <a:latin typeface="Century Gothic" panose="020B0502020202020204" pitchFamily="34" charset="0"/>
            </a:endParaRPr>
          </a:p>
        </p:txBody>
      </p:sp>
      <p:sp>
        <p:nvSpPr>
          <p:cNvPr id="121860" name="CasellaDiTesto 4">
            <a:extLst>
              <a:ext uri="{FF2B5EF4-FFF2-40B4-BE49-F238E27FC236}">
                <a16:creationId xmlns:a16="http://schemas.microsoft.com/office/drawing/2014/main" id="{9BE459B6-25F5-C042-A586-BB85F0688528}"/>
              </a:ext>
            </a:extLst>
          </p:cNvPr>
          <p:cNvSpPr txBox="1">
            <a:spLocks noChangeArrowheads="1"/>
          </p:cNvSpPr>
          <p:nvPr/>
        </p:nvSpPr>
        <p:spPr bwMode="auto">
          <a:xfrm>
            <a:off x="1194916" y="4989763"/>
            <a:ext cx="389195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r>
              <a:rPr lang="en-US" altLang="it-IT" sz="1200" i="1" dirty="0">
                <a:solidFill>
                  <a:schemeClr val="tx2"/>
                </a:solidFill>
                <a:latin typeface="Century Gothic" panose="020B0502020202020204" pitchFamily="34" charset="0"/>
              </a:rPr>
              <a:t>"A cluster </a:t>
            </a:r>
            <a:r>
              <a:rPr lang="en-US" altLang="it-IT" sz="1200" i="1" dirty="0" err="1">
                <a:solidFill>
                  <a:schemeClr val="tx2"/>
                </a:solidFill>
                <a:latin typeface="Century Gothic" panose="020B0502020202020204" pitchFamily="34" charset="0"/>
              </a:rPr>
              <a:t>randomised</a:t>
            </a:r>
            <a:r>
              <a:rPr lang="en-US" altLang="it-IT" sz="1200" i="1" dirty="0">
                <a:solidFill>
                  <a:schemeClr val="tx2"/>
                </a:solidFill>
                <a:latin typeface="Century Gothic" panose="020B0502020202020204" pitchFamily="34" charset="0"/>
              </a:rPr>
              <a:t> control trial to evaluate the effectiveness and cost-effectiveness of the Italian medicines use review (I-MUR) for asthma patients"</a:t>
            </a:r>
            <a:endParaRPr lang="it-IT" altLang="it-IT" sz="1200" i="1" dirty="0">
              <a:solidFill>
                <a:schemeClr val="tx2"/>
              </a:solidFill>
              <a:latin typeface="Century Gothic" panose="020B0502020202020204" pitchFamily="34" charset="0"/>
            </a:endParaRPr>
          </a:p>
        </p:txBody>
      </p:sp>
      <p:sp>
        <p:nvSpPr>
          <p:cNvPr id="2" name="CasellaDiTesto 1">
            <a:extLst>
              <a:ext uri="{FF2B5EF4-FFF2-40B4-BE49-F238E27FC236}">
                <a16:creationId xmlns:a16="http://schemas.microsoft.com/office/drawing/2014/main" id="{6FE9FAE5-337E-4A4A-B070-380A0A3866AD}"/>
              </a:ext>
            </a:extLst>
          </p:cNvPr>
          <p:cNvSpPr txBox="1"/>
          <p:nvPr/>
        </p:nvSpPr>
        <p:spPr>
          <a:xfrm>
            <a:off x="6577781" y="0"/>
            <a:ext cx="5131136" cy="1323439"/>
          </a:xfrm>
          <a:prstGeom prst="rect">
            <a:avLst/>
          </a:prstGeom>
          <a:noFill/>
        </p:spPr>
        <p:txBody>
          <a:bodyPr wrap="square" rtlCol="0">
            <a:spAutoFit/>
          </a:bodyPr>
          <a:lstStyle/>
          <a:p>
            <a:pPr algn="ctr"/>
            <a:r>
              <a:rPr lang="it-IT" altLang="it-IT" sz="2400" dirty="0">
                <a:latin typeface="Century Gothic" panose="020B0502020202020204" pitchFamily="34" charset="0"/>
              </a:rPr>
              <a:t> </a:t>
            </a:r>
            <a:r>
              <a:rPr lang="it-IT" altLang="it-IT" sz="2000" dirty="0">
                <a:latin typeface="Century Gothic" panose="020B0502020202020204" pitchFamily="34" charset="0"/>
              </a:rPr>
              <a:t>ADERENZA: </a:t>
            </a:r>
            <a:endParaRPr lang="it-IT" altLang="it-IT" sz="2400" dirty="0">
              <a:latin typeface="Century Gothic" panose="020B0502020202020204" pitchFamily="34" charset="0"/>
            </a:endParaRPr>
          </a:p>
          <a:p>
            <a:pPr algn="ctr"/>
            <a:r>
              <a:rPr lang="it-IT" altLang="it-IT" sz="2800" dirty="0">
                <a:latin typeface="Century Gothic" panose="020B0502020202020204" pitchFamily="34" charset="0"/>
              </a:rPr>
              <a:t>RUOLO DEL FARMACISTA </a:t>
            </a:r>
          </a:p>
          <a:p>
            <a:pPr algn="ctr"/>
            <a:r>
              <a:rPr lang="it-IT" altLang="it-IT" sz="2800" dirty="0">
                <a:latin typeface="Century Gothic" panose="020B0502020202020204" pitchFamily="34" charset="0"/>
              </a:rPr>
              <a:t>PROGETTO I-MUR</a:t>
            </a:r>
            <a:endParaRPr lang="it-IT" sz="2800" dirty="0"/>
          </a:p>
        </p:txBody>
      </p:sp>
      <p:cxnSp>
        <p:nvCxnSpPr>
          <p:cNvPr id="4" name="Connettore 2 3">
            <a:extLst>
              <a:ext uri="{FF2B5EF4-FFF2-40B4-BE49-F238E27FC236}">
                <a16:creationId xmlns:a16="http://schemas.microsoft.com/office/drawing/2014/main" id="{9C0AA0B8-C28D-E04A-B58D-9EC5545C50A4}"/>
              </a:ext>
            </a:extLst>
          </p:cNvPr>
          <p:cNvCxnSpPr/>
          <p:nvPr/>
        </p:nvCxnSpPr>
        <p:spPr>
          <a:xfrm>
            <a:off x="6577781" y="1932043"/>
            <a:ext cx="0" cy="560438"/>
          </a:xfrm>
          <a:prstGeom prst="straightConnector1">
            <a:avLst/>
          </a:prstGeom>
          <a:ln w="63500">
            <a:tailEnd type="triangle"/>
          </a:ln>
        </p:spPr>
        <p:style>
          <a:lnRef idx="1">
            <a:schemeClr val="accent1"/>
          </a:lnRef>
          <a:fillRef idx="0">
            <a:schemeClr val="accent1"/>
          </a:fillRef>
          <a:effectRef idx="0">
            <a:schemeClr val="accent1"/>
          </a:effectRef>
          <a:fontRef idx="minor">
            <a:schemeClr val="tx1"/>
          </a:fontRef>
        </p:style>
      </p:cxnSp>
      <p:pic>
        <p:nvPicPr>
          <p:cNvPr id="7" name="Immagine 2"/>
          <p:cNvPicPr>
            <a:picLocks noChangeAspect="1" noChangeArrowheads="1"/>
          </p:cNvPicPr>
          <p:nvPr/>
        </p:nvPicPr>
        <p:blipFill>
          <a:blip r:embed="rId2">
            <a:extLst>
              <a:ext uri="{28A0092B-C50C-407E-A947-70E740481C1C}">
                <a14:useLocalDpi xmlns:a14="http://schemas.microsoft.com/office/drawing/2010/main" val="0"/>
              </a:ext>
            </a:extLst>
          </a:blip>
          <a:srcRect t="16675" r="64056" b="41014"/>
          <a:stretch>
            <a:fillRect/>
          </a:stretch>
        </p:blipFill>
        <p:spPr bwMode="auto">
          <a:xfrm>
            <a:off x="5716995" y="3600298"/>
            <a:ext cx="5688942" cy="3175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6048679"/>
      </p:ext>
    </p:extLst>
  </p:cSld>
  <p:clrMapOvr>
    <a:masterClrMapping/>
  </p:clrMapOvr>
  <p:transition spd="slow"/>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1" name="CasellaDiTesto 1">
            <a:extLst>
              <a:ext uri="{FF2B5EF4-FFF2-40B4-BE49-F238E27FC236}">
                <a16:creationId xmlns:a16="http://schemas.microsoft.com/office/drawing/2014/main" id="{B3506ACF-8F0F-4349-8243-EB8BB76DC409}"/>
              </a:ext>
            </a:extLst>
          </p:cNvPr>
          <p:cNvSpPr txBox="1">
            <a:spLocks noChangeArrowheads="1"/>
          </p:cNvSpPr>
          <p:nvPr/>
        </p:nvSpPr>
        <p:spPr bwMode="auto">
          <a:xfrm>
            <a:off x="4942635" y="0"/>
            <a:ext cx="688360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1">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r>
              <a:rPr lang="it-IT" altLang="it-IT" sz="2400" dirty="0" smtClean="0">
                <a:latin typeface="+mn-lt"/>
              </a:rPr>
              <a:t>ESEMPIO</a:t>
            </a:r>
            <a:endParaRPr lang="it-IT" altLang="it-IT" sz="2400" dirty="0">
              <a:latin typeface="+mn-lt"/>
            </a:endParaRPr>
          </a:p>
          <a:p>
            <a:pPr algn="ctr" eaLnBrk="1"/>
            <a:r>
              <a:rPr lang="it-IT" altLang="it-IT" sz="2400" dirty="0">
                <a:latin typeface="+mn-lt"/>
              </a:rPr>
              <a:t> COME MIGLIORARE IL LIVELLO DI </a:t>
            </a:r>
            <a:r>
              <a:rPr lang="it-IT" altLang="it-IT" sz="2400" dirty="0" smtClean="0">
                <a:latin typeface="+mn-lt"/>
              </a:rPr>
              <a:t>ADERENZA?</a:t>
            </a:r>
            <a:endParaRPr lang="it-IT" altLang="it-IT" sz="2400" dirty="0">
              <a:latin typeface="+mn-lt"/>
            </a:endParaRPr>
          </a:p>
        </p:txBody>
      </p:sp>
      <p:sp>
        <p:nvSpPr>
          <p:cNvPr id="122882" name="CasellaDiTesto 2">
            <a:extLst>
              <a:ext uri="{FF2B5EF4-FFF2-40B4-BE49-F238E27FC236}">
                <a16:creationId xmlns:a16="http://schemas.microsoft.com/office/drawing/2014/main" id="{C22ED590-D45C-AA4D-912E-3AF7CEB59FBF}"/>
              </a:ext>
            </a:extLst>
          </p:cNvPr>
          <p:cNvSpPr txBox="1">
            <a:spLocks noChangeArrowheads="1"/>
          </p:cNvSpPr>
          <p:nvPr/>
        </p:nvSpPr>
        <p:spPr bwMode="auto">
          <a:xfrm>
            <a:off x="2956284" y="1161683"/>
            <a:ext cx="9235716"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285750" indent="-285750">
              <a:buFont typeface="Wingdings" pitchFamily="2" charset="2"/>
              <a:buChar char="Ø"/>
            </a:pPr>
            <a:r>
              <a:rPr lang="it-IT" altLang="it-IT" dirty="0">
                <a:latin typeface="+mn-lt"/>
              </a:rPr>
              <a:t>Quasi il 50% dei pazienti in terapia con nebulizzatori sottoutilizza i farmaci </a:t>
            </a:r>
          </a:p>
          <a:p>
            <a:pPr marL="285750" indent="-285750">
              <a:buFont typeface="Wingdings" pitchFamily="2" charset="2"/>
              <a:buChar char="Ø"/>
            </a:pPr>
            <a:r>
              <a:rPr lang="it-IT" altLang="it-IT" dirty="0">
                <a:latin typeface="+mn-lt"/>
              </a:rPr>
              <a:t>Il 31% adotta una tecnica inalatoria inefficace</a:t>
            </a:r>
          </a:p>
          <a:p>
            <a:pPr marL="285750" indent="-285750">
              <a:buFont typeface="Wingdings" pitchFamily="2" charset="2"/>
              <a:buChar char="Ø"/>
            </a:pPr>
            <a:r>
              <a:rPr lang="it-IT" altLang="it-IT" dirty="0">
                <a:latin typeface="+mn-lt"/>
              </a:rPr>
              <a:t>Più del 50% </a:t>
            </a:r>
            <a:r>
              <a:rPr lang="it-IT" altLang="it-IT" dirty="0" err="1">
                <a:latin typeface="+mn-lt"/>
              </a:rPr>
              <a:t>sovrautilizza</a:t>
            </a:r>
            <a:r>
              <a:rPr lang="it-IT" altLang="it-IT" dirty="0">
                <a:latin typeface="+mn-lt"/>
              </a:rPr>
              <a:t> i farmaci in occasione degli episodi di riacutizzazione</a:t>
            </a:r>
          </a:p>
        </p:txBody>
      </p:sp>
      <p:sp>
        <p:nvSpPr>
          <p:cNvPr id="122883" name="CasellaDiTesto 3">
            <a:extLst>
              <a:ext uri="{FF2B5EF4-FFF2-40B4-BE49-F238E27FC236}">
                <a16:creationId xmlns:a16="http://schemas.microsoft.com/office/drawing/2014/main" id="{E26F4D07-9B09-0C48-BB99-3F8E55768C1D}"/>
              </a:ext>
            </a:extLst>
          </p:cNvPr>
          <p:cNvSpPr txBox="1">
            <a:spLocks noChangeArrowheads="1"/>
          </p:cNvSpPr>
          <p:nvPr/>
        </p:nvSpPr>
        <p:spPr bwMode="auto">
          <a:xfrm>
            <a:off x="543230" y="5671273"/>
            <a:ext cx="11105535" cy="1061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a:buSzPct val="100000"/>
              <a:buFontTx/>
              <a:buAutoNum type="arabicPeriod"/>
            </a:pPr>
            <a:r>
              <a:rPr lang="en-US" altLang="it-IT" sz="900" dirty="0">
                <a:latin typeface="+mn-lt"/>
                <a:cs typeface="Times New Roman" panose="02020603050405020304" pitchFamily="18" charset="0"/>
              </a:rPr>
              <a:t>Ramsey SD. Suboptimal medical therapy in COPD: exploring the causes and consequences. </a:t>
            </a:r>
            <a:r>
              <a:rPr lang="it-IT" altLang="it-IT" sz="900" dirty="0" err="1">
                <a:latin typeface="+mn-lt"/>
                <a:cs typeface="Times New Roman" panose="02020603050405020304" pitchFamily="18" charset="0"/>
              </a:rPr>
              <a:t>Chest</a:t>
            </a:r>
            <a:r>
              <a:rPr lang="it-IT" altLang="it-IT" sz="900" dirty="0">
                <a:latin typeface="+mn-lt"/>
                <a:cs typeface="Times New Roman" panose="02020603050405020304" pitchFamily="18" charset="0"/>
              </a:rPr>
              <a:t> 2000; 117:33S-37S.</a:t>
            </a:r>
            <a:endParaRPr lang="it-IT" altLang="it-IT" sz="900" dirty="0">
              <a:latin typeface="+mn-lt"/>
              <a:ea typeface="Calibri" panose="020F0502020204030204" pitchFamily="34" charset="0"/>
              <a:cs typeface="Times New Roman" panose="02020603050405020304" pitchFamily="18" charset="0"/>
            </a:endParaRPr>
          </a:p>
          <a:p>
            <a:pPr eaLnBrk="1">
              <a:buSzPct val="100000"/>
              <a:buFontTx/>
              <a:buAutoNum type="arabicPeriod"/>
            </a:pPr>
            <a:r>
              <a:rPr lang="it-IT" altLang="it-IT" sz="900" dirty="0" err="1">
                <a:latin typeface="+mn-lt"/>
                <a:cs typeface="Times New Roman" panose="02020603050405020304" pitchFamily="18" charset="0"/>
              </a:rPr>
              <a:t>Vestbo</a:t>
            </a:r>
            <a:r>
              <a:rPr lang="it-IT" altLang="it-IT" sz="900" dirty="0">
                <a:latin typeface="+mn-lt"/>
                <a:cs typeface="Times New Roman" panose="02020603050405020304" pitchFamily="18" charset="0"/>
              </a:rPr>
              <a:t> </a:t>
            </a:r>
            <a:r>
              <a:rPr lang="it-IT" altLang="it-IT" sz="900" dirty="0" err="1">
                <a:latin typeface="+mn-lt"/>
                <a:cs typeface="Times New Roman" panose="02020603050405020304" pitchFamily="18" charset="0"/>
              </a:rPr>
              <a:t>J</a:t>
            </a:r>
            <a:r>
              <a:rPr lang="it-IT" altLang="it-IT" sz="900" dirty="0">
                <a:latin typeface="+mn-lt"/>
                <a:cs typeface="Times New Roman" panose="02020603050405020304" pitchFamily="18" charset="0"/>
              </a:rPr>
              <a:t>, Anderson JA, </a:t>
            </a:r>
            <a:r>
              <a:rPr lang="it-IT" altLang="it-IT" sz="900" dirty="0" err="1">
                <a:latin typeface="+mn-lt"/>
                <a:cs typeface="Times New Roman" panose="02020603050405020304" pitchFamily="18" charset="0"/>
              </a:rPr>
              <a:t>Calverley</a:t>
            </a:r>
            <a:r>
              <a:rPr lang="it-IT" altLang="it-IT" sz="900" dirty="0">
                <a:latin typeface="+mn-lt"/>
                <a:cs typeface="Times New Roman" panose="02020603050405020304" pitchFamily="18" charset="0"/>
              </a:rPr>
              <a:t> PMA, Celli B, Ferguson GT, Jenkins C, </a:t>
            </a:r>
            <a:r>
              <a:rPr lang="it-IT" altLang="it-IT" sz="900" dirty="0" err="1">
                <a:latin typeface="+mn-lt"/>
                <a:cs typeface="Times New Roman" panose="02020603050405020304" pitchFamily="18" charset="0"/>
              </a:rPr>
              <a:t>Knobil</a:t>
            </a:r>
            <a:r>
              <a:rPr lang="it-IT" altLang="it-IT" sz="900" dirty="0">
                <a:latin typeface="+mn-lt"/>
                <a:cs typeface="Times New Roman" panose="02020603050405020304" pitchFamily="18" charset="0"/>
              </a:rPr>
              <a:t> K, </a:t>
            </a:r>
            <a:r>
              <a:rPr lang="it-IT" altLang="it-IT" sz="900" dirty="0" err="1">
                <a:latin typeface="+mn-lt"/>
                <a:cs typeface="Times New Roman" panose="02020603050405020304" pitchFamily="18" charset="0"/>
              </a:rPr>
              <a:t>Willits</a:t>
            </a:r>
            <a:r>
              <a:rPr lang="it-IT" altLang="it-IT" sz="900" dirty="0">
                <a:latin typeface="+mn-lt"/>
                <a:cs typeface="Times New Roman" panose="02020603050405020304" pitchFamily="18" charset="0"/>
              </a:rPr>
              <a:t> LR, Yates JC, Jones PW. </a:t>
            </a:r>
            <a:r>
              <a:rPr lang="en-US" altLang="it-IT" sz="900" dirty="0">
                <a:latin typeface="+mn-lt"/>
                <a:cs typeface="Times New Roman" panose="02020603050405020304" pitchFamily="18" charset="0"/>
              </a:rPr>
              <a:t>Adherence to inhaled therapy, mortality and hospital admission in COPD. </a:t>
            </a:r>
            <a:r>
              <a:rPr lang="it-IT" altLang="it-IT" sz="900" dirty="0" err="1">
                <a:latin typeface="+mn-lt"/>
                <a:cs typeface="Times New Roman" panose="02020603050405020304" pitchFamily="18" charset="0"/>
              </a:rPr>
              <a:t>Thorax</a:t>
            </a:r>
            <a:r>
              <a:rPr lang="it-IT" altLang="it-IT" sz="900" dirty="0">
                <a:latin typeface="+mn-lt"/>
                <a:cs typeface="Times New Roman" panose="02020603050405020304" pitchFamily="18" charset="0"/>
              </a:rPr>
              <a:t> 2009; 64:939-943.</a:t>
            </a:r>
            <a:endParaRPr lang="it-IT" altLang="it-IT" sz="900" dirty="0">
              <a:latin typeface="+mn-lt"/>
              <a:cs typeface="Calibri" panose="020F0502020204030204" pitchFamily="34" charset="0"/>
            </a:endParaRPr>
          </a:p>
          <a:p>
            <a:pPr eaLnBrk="1">
              <a:buSzPct val="100000"/>
              <a:buFontTx/>
              <a:buAutoNum type="arabicPeriod"/>
            </a:pPr>
            <a:r>
              <a:rPr lang="it-IT" altLang="it-IT" sz="900" dirty="0">
                <a:latin typeface="+mn-lt"/>
                <a:cs typeface="Times New Roman" panose="02020603050405020304" pitchFamily="18" charset="0"/>
              </a:rPr>
              <a:t>Melani AS, </a:t>
            </a:r>
            <a:r>
              <a:rPr lang="it-IT" altLang="it-IT" sz="900" dirty="0" err="1">
                <a:latin typeface="+mn-lt"/>
                <a:cs typeface="Times New Roman" panose="02020603050405020304" pitchFamily="18" charset="0"/>
              </a:rPr>
              <a:t>Bonavia</a:t>
            </a:r>
            <a:r>
              <a:rPr lang="it-IT" altLang="it-IT" sz="900" dirty="0">
                <a:latin typeface="+mn-lt"/>
                <a:cs typeface="Times New Roman" panose="02020603050405020304" pitchFamily="18" charset="0"/>
              </a:rPr>
              <a:t> M, </a:t>
            </a:r>
            <a:r>
              <a:rPr lang="it-IT" altLang="it-IT" sz="900" dirty="0" err="1">
                <a:latin typeface="+mn-lt"/>
                <a:cs typeface="Times New Roman" panose="02020603050405020304" pitchFamily="18" charset="0"/>
              </a:rPr>
              <a:t>Cilenti</a:t>
            </a:r>
            <a:r>
              <a:rPr lang="it-IT" altLang="it-IT" sz="900" dirty="0">
                <a:latin typeface="+mn-lt"/>
                <a:cs typeface="Times New Roman" panose="02020603050405020304" pitchFamily="18" charset="0"/>
              </a:rPr>
              <a:t> V, Cinti C, Lodi M, Martucci </a:t>
            </a:r>
            <a:r>
              <a:rPr lang="it-IT" altLang="it-IT" sz="900" dirty="0" err="1">
                <a:latin typeface="+mn-lt"/>
                <a:cs typeface="Times New Roman" panose="02020603050405020304" pitchFamily="18" charset="0"/>
              </a:rPr>
              <a:t>P</a:t>
            </a:r>
            <a:r>
              <a:rPr lang="it-IT" altLang="it-IT" sz="900" dirty="0">
                <a:latin typeface="+mn-lt"/>
                <a:cs typeface="Times New Roman" panose="02020603050405020304" pitchFamily="18" charset="0"/>
              </a:rPr>
              <a:t>, Serra M, </a:t>
            </a:r>
            <a:r>
              <a:rPr lang="it-IT" altLang="it-IT" sz="900" dirty="0" err="1">
                <a:latin typeface="+mn-lt"/>
                <a:cs typeface="Times New Roman" panose="02020603050405020304" pitchFamily="18" charset="0"/>
              </a:rPr>
              <a:t>Scichilone</a:t>
            </a:r>
            <a:r>
              <a:rPr lang="it-IT" altLang="it-IT" sz="900" dirty="0">
                <a:latin typeface="+mn-lt"/>
                <a:cs typeface="Times New Roman" panose="02020603050405020304" pitchFamily="18" charset="0"/>
              </a:rPr>
              <a:t> </a:t>
            </a:r>
            <a:r>
              <a:rPr lang="it-IT" altLang="it-IT" sz="900" dirty="0" err="1">
                <a:latin typeface="+mn-lt"/>
                <a:cs typeface="Times New Roman" panose="02020603050405020304" pitchFamily="18" charset="0"/>
              </a:rPr>
              <a:t>N</a:t>
            </a:r>
            <a:r>
              <a:rPr lang="it-IT" altLang="it-IT" sz="900" dirty="0">
                <a:latin typeface="+mn-lt"/>
                <a:cs typeface="Times New Roman" panose="02020603050405020304" pitchFamily="18" charset="0"/>
              </a:rPr>
              <a:t>, Sestini </a:t>
            </a:r>
            <a:r>
              <a:rPr lang="it-IT" altLang="it-IT" sz="900" dirty="0" err="1">
                <a:latin typeface="+mn-lt"/>
                <a:cs typeface="Times New Roman" panose="02020603050405020304" pitchFamily="18" charset="0"/>
              </a:rPr>
              <a:t>P</a:t>
            </a:r>
            <a:r>
              <a:rPr lang="it-IT" altLang="it-IT" sz="900" dirty="0">
                <a:latin typeface="+mn-lt"/>
                <a:cs typeface="Times New Roman" panose="02020603050405020304" pitchFamily="18" charset="0"/>
              </a:rPr>
              <a:t>, </a:t>
            </a:r>
            <a:r>
              <a:rPr lang="it-IT" altLang="it-IT" sz="900" dirty="0" err="1">
                <a:latin typeface="+mn-lt"/>
                <a:cs typeface="Times New Roman" panose="02020603050405020304" pitchFamily="18" charset="0"/>
              </a:rPr>
              <a:t>Aliani</a:t>
            </a:r>
            <a:r>
              <a:rPr lang="it-IT" altLang="it-IT" sz="900" dirty="0">
                <a:latin typeface="+mn-lt"/>
                <a:cs typeface="Times New Roman" panose="02020603050405020304" pitchFamily="18" charset="0"/>
              </a:rPr>
              <a:t> M, Neri M; Gruppo Educazionale Associazione Italiana Pneumologi Ospedalieri. </a:t>
            </a:r>
            <a:r>
              <a:rPr lang="en-US" altLang="it-IT" sz="900" dirty="0">
                <a:latin typeface="+mn-lt"/>
                <a:cs typeface="Times New Roman" panose="02020603050405020304" pitchFamily="18" charset="0"/>
              </a:rPr>
              <a:t>Inhaler mishandling remains common in real life and is associated with reduced disease control. </a:t>
            </a:r>
            <a:r>
              <a:rPr lang="it-IT" altLang="it-IT" sz="900" dirty="0" err="1">
                <a:latin typeface="+mn-lt"/>
                <a:cs typeface="Times New Roman" panose="02020603050405020304" pitchFamily="18" charset="0"/>
              </a:rPr>
              <a:t>Respir</a:t>
            </a:r>
            <a:r>
              <a:rPr lang="it-IT" altLang="it-IT" sz="900" dirty="0">
                <a:latin typeface="+mn-lt"/>
                <a:cs typeface="Times New Roman" panose="02020603050405020304" pitchFamily="18" charset="0"/>
              </a:rPr>
              <a:t> </a:t>
            </a:r>
            <a:r>
              <a:rPr lang="it-IT" altLang="it-IT" sz="900" dirty="0" err="1">
                <a:latin typeface="+mn-lt"/>
                <a:cs typeface="Times New Roman" panose="02020603050405020304" pitchFamily="18" charset="0"/>
              </a:rPr>
              <a:t>Med</a:t>
            </a:r>
            <a:r>
              <a:rPr lang="it-IT" altLang="it-IT" sz="900" dirty="0">
                <a:latin typeface="+mn-lt"/>
                <a:cs typeface="Times New Roman" panose="02020603050405020304" pitchFamily="18" charset="0"/>
              </a:rPr>
              <a:t> 2011;105(6):930-8.</a:t>
            </a:r>
            <a:endParaRPr lang="it-IT" altLang="it-IT" sz="900" dirty="0">
              <a:latin typeface="+mn-lt"/>
              <a:cs typeface="Calibri" panose="020F0502020204030204" pitchFamily="34" charset="0"/>
            </a:endParaRPr>
          </a:p>
          <a:p>
            <a:pPr eaLnBrk="1">
              <a:buSzPct val="100000"/>
              <a:buFontTx/>
              <a:buAutoNum type="arabicPeriod"/>
            </a:pPr>
            <a:r>
              <a:rPr lang="en-US" altLang="it-IT" sz="900" dirty="0">
                <a:latin typeface="+mn-lt"/>
                <a:cs typeface="Times New Roman" panose="02020603050405020304" pitchFamily="18" charset="0"/>
              </a:rPr>
              <a:t>Adams SG, Pitts J, Wynne JE, Yawn BP, Diamond EJ, Lee S, </a:t>
            </a:r>
            <a:r>
              <a:rPr lang="en-US" altLang="it-IT" sz="900" dirty="0" err="1">
                <a:latin typeface="+mn-lt"/>
                <a:cs typeface="Times New Roman" panose="02020603050405020304" pitchFamily="18" charset="0"/>
              </a:rPr>
              <a:t>Dellert</a:t>
            </a:r>
            <a:r>
              <a:rPr lang="en-US" altLang="it-IT" sz="900" dirty="0">
                <a:latin typeface="+mn-lt"/>
                <a:cs typeface="Times New Roman" panose="02020603050405020304" pitchFamily="18" charset="0"/>
              </a:rPr>
              <a:t> E, </a:t>
            </a:r>
            <a:r>
              <a:rPr lang="en-US" altLang="it-IT" sz="900" dirty="0" err="1">
                <a:latin typeface="+mn-lt"/>
                <a:cs typeface="Times New Roman" panose="02020603050405020304" pitchFamily="18" charset="0"/>
              </a:rPr>
              <a:t>Hanania</a:t>
            </a:r>
            <a:r>
              <a:rPr lang="en-US" altLang="it-IT" sz="900" dirty="0">
                <a:latin typeface="+mn-lt"/>
                <a:cs typeface="Times New Roman" panose="02020603050405020304" pitchFamily="18" charset="0"/>
              </a:rPr>
              <a:t> NA. Effect of a Primary Care Continuing Education Program on Clinical Practice of Chronic Obstructive Lung Disease: Translating Theory Into Practice. </a:t>
            </a:r>
            <a:r>
              <a:rPr lang="it-IT" altLang="it-IT" sz="900" dirty="0">
                <a:latin typeface="+mn-lt"/>
                <a:cs typeface="Times New Roman" panose="02020603050405020304" pitchFamily="18" charset="0"/>
              </a:rPr>
              <a:t>Mayo </a:t>
            </a:r>
            <a:r>
              <a:rPr lang="it-IT" altLang="it-IT" sz="900" dirty="0" err="1">
                <a:latin typeface="+mn-lt"/>
                <a:cs typeface="Times New Roman" panose="02020603050405020304" pitchFamily="18" charset="0"/>
              </a:rPr>
              <a:t>Clin</a:t>
            </a:r>
            <a:r>
              <a:rPr lang="it-IT" altLang="it-IT" sz="900" dirty="0">
                <a:latin typeface="+mn-lt"/>
                <a:cs typeface="Times New Roman" panose="02020603050405020304" pitchFamily="18" charset="0"/>
              </a:rPr>
              <a:t> </a:t>
            </a:r>
            <a:r>
              <a:rPr lang="it-IT" altLang="it-IT" sz="900" dirty="0" err="1">
                <a:latin typeface="+mn-lt"/>
                <a:cs typeface="Times New Roman" panose="02020603050405020304" pitchFamily="18" charset="0"/>
              </a:rPr>
              <a:t>Proc</a:t>
            </a:r>
            <a:r>
              <a:rPr lang="it-IT" altLang="it-IT" sz="900" dirty="0">
                <a:latin typeface="+mn-lt"/>
                <a:cs typeface="Times New Roman" panose="02020603050405020304" pitchFamily="18" charset="0"/>
              </a:rPr>
              <a:t> 2012; 87(9): 862-870</a:t>
            </a:r>
            <a:endParaRPr lang="it-IT" altLang="it-IT" sz="900" dirty="0">
              <a:latin typeface="+mn-lt"/>
            </a:endParaRPr>
          </a:p>
        </p:txBody>
      </p:sp>
      <p:sp>
        <p:nvSpPr>
          <p:cNvPr id="2" name="CasellaDiTesto 1">
            <a:extLst>
              <a:ext uri="{FF2B5EF4-FFF2-40B4-BE49-F238E27FC236}">
                <a16:creationId xmlns:a16="http://schemas.microsoft.com/office/drawing/2014/main" id="{D341C6AD-6A5B-374D-8CEA-721EE10A2422}"/>
              </a:ext>
            </a:extLst>
          </p:cNvPr>
          <p:cNvSpPr txBox="1"/>
          <p:nvPr/>
        </p:nvSpPr>
        <p:spPr>
          <a:xfrm>
            <a:off x="543231" y="1992680"/>
            <a:ext cx="11105535" cy="3000821"/>
          </a:xfrm>
          <a:prstGeom prst="rect">
            <a:avLst/>
          </a:prstGeom>
          <a:noFill/>
        </p:spPr>
        <p:txBody>
          <a:bodyPr wrap="square" rtlCol="0">
            <a:spAutoFit/>
          </a:bodyPr>
          <a:lstStyle/>
          <a:p>
            <a:pPr algn="ctr">
              <a:spcBef>
                <a:spcPts val="600"/>
              </a:spcBef>
              <a:spcAft>
                <a:spcPts val="600"/>
              </a:spcAft>
            </a:pPr>
            <a:r>
              <a:rPr lang="it-IT" altLang="it-IT" sz="2400" dirty="0"/>
              <a:t>↓</a:t>
            </a:r>
            <a:endParaRPr lang="it-IT" altLang="it-IT" dirty="0"/>
          </a:p>
          <a:p>
            <a:pPr algn="ctr"/>
            <a:r>
              <a:rPr lang="it-IT" altLang="it-IT" dirty="0"/>
              <a:t>Un </a:t>
            </a:r>
            <a:r>
              <a:rPr lang="it-IT" altLang="it-IT" b="1" dirty="0"/>
              <a:t>breve </a:t>
            </a:r>
            <a:r>
              <a:rPr lang="it-IT" altLang="it-IT" b="1" dirty="0" err="1"/>
              <a:t>counselling</a:t>
            </a:r>
            <a:r>
              <a:rPr lang="it-IT" altLang="it-IT" b="1" dirty="0"/>
              <a:t> </a:t>
            </a:r>
            <a:r>
              <a:rPr lang="it-IT" altLang="it-IT" dirty="0"/>
              <a:t>condotto da un </a:t>
            </a:r>
            <a:r>
              <a:rPr lang="it-IT" altLang="it-IT" b="1" dirty="0"/>
              <a:t>farmacista</a:t>
            </a:r>
            <a:r>
              <a:rPr lang="it-IT" altLang="it-IT" dirty="0"/>
              <a:t> adeguatamente istruito che spieghi in </a:t>
            </a:r>
            <a:r>
              <a:rPr lang="it-IT" altLang="it-IT" b="1" dirty="0"/>
              <a:t>3-5 minuti </a:t>
            </a:r>
            <a:r>
              <a:rPr lang="it-IT" altLang="it-IT" dirty="0"/>
              <a:t>al paziente che cosa sia il farmaco prescritto e l’importanza della sua assunzione si è dimostrato un approccio efficace </a:t>
            </a:r>
          </a:p>
          <a:p>
            <a:pPr algn="ctr"/>
            <a:r>
              <a:rPr lang="it-IT" altLang="it-IT" sz="1600" dirty="0"/>
              <a:t>(evidenziato dal dosaggio plasmatico del farmaco e dalla richiesta di successive prescrizioni) </a:t>
            </a:r>
          </a:p>
          <a:p>
            <a:endParaRPr lang="it-IT" altLang="it-IT" dirty="0"/>
          </a:p>
          <a:p>
            <a:pPr algn="ctr"/>
            <a:r>
              <a:rPr lang="it-IT" altLang="it-IT" dirty="0"/>
              <a:t>Anche il monitoraggio sull’uso degli inalatori mediante </a:t>
            </a:r>
            <a:r>
              <a:rPr lang="it-IT" altLang="it-IT" b="1" dirty="0" err="1"/>
              <a:t>device</a:t>
            </a:r>
            <a:r>
              <a:rPr lang="it-IT" altLang="it-IT" b="1" dirty="0"/>
              <a:t> elettronico </a:t>
            </a:r>
            <a:r>
              <a:rPr lang="it-IT" altLang="it-IT" dirty="0"/>
              <a:t>e il </a:t>
            </a:r>
            <a:r>
              <a:rPr lang="it-IT" altLang="it-IT" b="1" dirty="0"/>
              <a:t>feedback</a:t>
            </a:r>
            <a:r>
              <a:rPr lang="it-IT" altLang="it-IT" dirty="0"/>
              <a:t> da parte del </a:t>
            </a:r>
            <a:r>
              <a:rPr lang="it-IT" altLang="it-IT" b="1" dirty="0"/>
              <a:t>medico curante </a:t>
            </a:r>
            <a:r>
              <a:rPr lang="it-IT" altLang="it-IT" dirty="0"/>
              <a:t>sul corretto uso degli inalatori si è associato a una </a:t>
            </a:r>
            <a:r>
              <a:rPr lang="it-IT" altLang="it-IT" b="1" dirty="0"/>
              <a:t>aderenza significativamente superiore rispetto ai controlli </a:t>
            </a:r>
            <a:r>
              <a:rPr lang="it-IT" altLang="it-IT" dirty="0"/>
              <a:t>a quattro mesi di distanza (p=0,003</a:t>
            </a:r>
            <a:r>
              <a:rPr lang="it-IT" altLang="it-IT" dirty="0" smtClean="0"/>
              <a:t>)</a:t>
            </a:r>
          </a:p>
          <a:p>
            <a:pPr algn="ctr"/>
            <a:r>
              <a:rPr lang="it-IT" altLang="it-IT" dirty="0" smtClean="0"/>
              <a:t> </a:t>
            </a:r>
            <a:r>
              <a:rPr lang="it-IT" altLang="it-IT" dirty="0"/>
              <a:t>e a 24 mesi di distanza (p=0,05)</a:t>
            </a:r>
          </a:p>
        </p:txBody>
      </p:sp>
    </p:spTree>
    <p:extLst>
      <p:ext uri="{BB962C8B-B14F-4D97-AF65-F5344CB8AC3E}">
        <p14:creationId xmlns:p14="http://schemas.microsoft.com/office/powerpoint/2010/main" val="1675966592"/>
      </p:ext>
    </p:extLst>
  </p:cSld>
  <p:clrMapOvr>
    <a:masterClrMapping/>
  </p:clrMapOvr>
  <p:transition spd="slow"/>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5" name="Titolo 14">
            <a:extLst>
              <a:ext uri="{FF2B5EF4-FFF2-40B4-BE49-F238E27FC236}">
                <a16:creationId xmlns:a16="http://schemas.microsoft.com/office/drawing/2014/main" id="{78ABD923-E7BF-7F42-BC4A-40B5A12E8276}"/>
              </a:ext>
            </a:extLst>
          </p:cNvPr>
          <p:cNvSpPr>
            <a:spLocks noChangeArrowheads="1"/>
          </p:cNvSpPr>
          <p:nvPr/>
        </p:nvSpPr>
        <p:spPr bwMode="auto">
          <a:xfrm>
            <a:off x="1" y="0"/>
            <a:ext cx="12191999" cy="1292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it-IT" altLang="it-IT" sz="2400" dirty="0">
                <a:latin typeface="+mn-lt"/>
                <a:ea typeface="ＭＳ Ｐゴシック" panose="020B0600070205080204" pitchFamily="34" charset="-128"/>
              </a:rPr>
              <a:t>MIGLIORAMENTO DEI PROFILI DI UTILIZZAZIONE DEI MEDICINALI, </a:t>
            </a:r>
          </a:p>
          <a:p>
            <a:pPr algn="ctr" eaLnBrk="1" hangingPunct="1"/>
            <a:r>
              <a:rPr lang="it-IT" altLang="it-IT" sz="2400" dirty="0">
                <a:latin typeface="+mn-lt"/>
                <a:ea typeface="ＭＳ Ｐゴシック" panose="020B0600070205080204" pitchFamily="34" charset="-128"/>
              </a:rPr>
              <a:t>RAZIONALIZZAZIONE DELL’ALLOCAZIONE DELLE RISORSE </a:t>
            </a:r>
          </a:p>
          <a:p>
            <a:pPr algn="ctr" eaLnBrk="1" hangingPunct="1"/>
            <a:r>
              <a:rPr lang="it-IT" altLang="it-IT" sz="2400" dirty="0">
                <a:latin typeface="+mn-lt"/>
                <a:ea typeface="ＭＳ Ｐゴシック" panose="020B0600070205080204" pitchFamily="34" charset="-128"/>
              </a:rPr>
              <a:t>E MIGLIORAMENTO DEGLI ESITI CLINICI</a:t>
            </a:r>
          </a:p>
        </p:txBody>
      </p:sp>
      <p:sp>
        <p:nvSpPr>
          <p:cNvPr id="123906" name="Rettangolo 2">
            <a:extLst>
              <a:ext uri="{FF2B5EF4-FFF2-40B4-BE49-F238E27FC236}">
                <a16:creationId xmlns:a16="http://schemas.microsoft.com/office/drawing/2014/main" id="{DBF3CBB3-C43B-DA4B-A0F2-12AAFEACF2F0}"/>
              </a:ext>
            </a:extLst>
          </p:cNvPr>
          <p:cNvSpPr>
            <a:spLocks noChangeArrowheads="1"/>
          </p:cNvSpPr>
          <p:nvPr/>
        </p:nvSpPr>
        <p:spPr bwMode="auto">
          <a:xfrm>
            <a:off x="1133168" y="1645826"/>
            <a:ext cx="9925663" cy="304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85750" indent="-28575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spcBef>
                <a:spcPts val="1800"/>
              </a:spcBef>
              <a:buSzPct val="100000"/>
              <a:buFontTx/>
              <a:buChar char="•"/>
            </a:pPr>
            <a:r>
              <a:rPr lang="it-IT" altLang="it-IT" dirty="0">
                <a:latin typeface="+mn-lt"/>
                <a:ea typeface="ＭＳ Ｐゴシック" panose="020B0600070205080204" pitchFamily="34" charset="-128"/>
              </a:rPr>
              <a:t>Dall’analisi delle prescrizioni, emerge un </a:t>
            </a:r>
            <a:r>
              <a:rPr lang="it-IT" altLang="it-IT" b="1" dirty="0">
                <a:latin typeface="+mn-lt"/>
                <a:ea typeface="ＭＳ Ｐゴシック" panose="020B0600070205080204" pitchFamily="34" charset="-128"/>
              </a:rPr>
              <a:t>margine significativo di miglioramento dei profili di utilizzazione dei medicinali e di aderenza al trattamento</a:t>
            </a:r>
            <a:r>
              <a:rPr lang="it-IT" altLang="it-IT" dirty="0">
                <a:latin typeface="+mn-lt"/>
                <a:ea typeface="ＭＳ Ｐゴシック" panose="020B0600070205080204" pitchFamily="34" charset="-128"/>
              </a:rPr>
              <a:t> per le principali aree terapeutiche.</a:t>
            </a:r>
          </a:p>
          <a:p>
            <a:pPr>
              <a:spcBef>
                <a:spcPts val="1800"/>
              </a:spcBef>
              <a:buSzPct val="100000"/>
              <a:buFontTx/>
              <a:buChar char="•"/>
            </a:pPr>
            <a:r>
              <a:rPr lang="it-IT" altLang="it-IT" dirty="0">
                <a:latin typeface="+mn-lt"/>
                <a:ea typeface="ＭＳ Ｐゴシック" panose="020B0600070205080204" pitchFamily="34" charset="-128"/>
              </a:rPr>
              <a:t>In una prospettiva economica, il miglioramento dei profili di utilizzazione determinerebbe una </a:t>
            </a:r>
            <a:r>
              <a:rPr lang="it-IT" altLang="it-IT" b="1" dirty="0">
                <a:latin typeface="+mn-lt"/>
                <a:ea typeface="ＭＳ Ｐゴシック" panose="020B0600070205080204" pitchFamily="34" charset="-128"/>
              </a:rPr>
              <a:t>differente allocazione</a:t>
            </a:r>
            <a:r>
              <a:rPr lang="it-IT" altLang="it-IT" dirty="0">
                <a:latin typeface="+mn-lt"/>
                <a:ea typeface="ＭＳ Ｐゴシック" panose="020B0600070205080204" pitchFamily="34" charset="-128"/>
              </a:rPr>
              <a:t> dello </a:t>
            </a:r>
            <a:r>
              <a:rPr lang="it-IT" altLang="it-IT" b="1" dirty="0">
                <a:latin typeface="+mn-lt"/>
                <a:ea typeface="ＭＳ Ｐゴシック" panose="020B0600070205080204" pitchFamily="34" charset="-128"/>
              </a:rPr>
              <a:t>stesso volume di risorse</a:t>
            </a:r>
            <a:r>
              <a:rPr lang="it-IT" altLang="it-IT" dirty="0">
                <a:latin typeface="+mn-lt"/>
                <a:ea typeface="ＭＳ Ｐゴシック" panose="020B0600070205080204" pitchFamily="34" charset="-128"/>
              </a:rPr>
              <a:t> ma con un conseguente </a:t>
            </a:r>
            <a:r>
              <a:rPr lang="it-IT" altLang="it-IT" b="1" dirty="0">
                <a:latin typeface="+mn-lt"/>
                <a:ea typeface="ＭＳ Ｐゴシック" panose="020B0600070205080204" pitchFamily="34" charset="-128"/>
              </a:rPr>
              <a:t>miglioramento degli esiti clinici</a:t>
            </a:r>
            <a:r>
              <a:rPr lang="it-IT" altLang="it-IT" dirty="0">
                <a:latin typeface="+mn-lt"/>
                <a:ea typeface="ＭＳ Ｐゴシック" panose="020B0600070205080204" pitchFamily="34" charset="-128"/>
              </a:rPr>
              <a:t>.  (</a:t>
            </a:r>
            <a:r>
              <a:rPr lang="it-IT" altLang="it-IT" dirty="0" smtClean="0">
                <a:latin typeface="+mn-lt"/>
                <a:ea typeface="ＭＳ Ｐゴシック" panose="020B0600070205080204" pitchFamily="34" charset="-128"/>
              </a:rPr>
              <a:t>⚠</a:t>
            </a:r>
            <a:r>
              <a:rPr lang="it-IT" altLang="it-IT" b="1" dirty="0" smtClean="0">
                <a:latin typeface="+mn-lt"/>
                <a:ea typeface="ＭＳ Ｐゴシック" panose="020B0600070205080204" pitchFamily="34" charset="-128"/>
              </a:rPr>
              <a:t> </a:t>
            </a:r>
            <a:r>
              <a:rPr lang="it-IT" altLang="it-IT" b="1" dirty="0">
                <a:solidFill>
                  <a:srgbClr val="C00000"/>
                </a:solidFill>
                <a:latin typeface="+mn-lt"/>
                <a:ea typeface="ＭＳ Ｐゴシック" panose="020B0600070205080204" pitchFamily="34" charset="-128"/>
              </a:rPr>
              <a:t>Aree di sovra-spesa</a:t>
            </a:r>
            <a:r>
              <a:rPr lang="it-IT" altLang="it-IT" dirty="0">
                <a:solidFill>
                  <a:srgbClr val="C00000"/>
                </a:solidFill>
                <a:latin typeface="+mn-lt"/>
                <a:ea typeface="ＭＳ Ｐゴシック" panose="020B0600070205080204" pitchFamily="34" charset="-128"/>
              </a:rPr>
              <a:t> </a:t>
            </a:r>
            <a:r>
              <a:rPr lang="it-IT" altLang="it-IT" dirty="0">
                <a:latin typeface="+mn-lt"/>
                <a:ea typeface="ＭＳ Ｐゴシック" panose="020B0600070205080204" pitchFamily="34" charset="-128"/>
              </a:rPr>
              <a:t>e </a:t>
            </a:r>
            <a:r>
              <a:rPr lang="it-IT" altLang="it-IT" b="1" dirty="0">
                <a:solidFill>
                  <a:schemeClr val="accent6"/>
                </a:solidFill>
                <a:latin typeface="+mn-lt"/>
                <a:ea typeface="ＭＳ Ｐゴシック" panose="020B0600070205080204" pitchFamily="34" charset="-128"/>
              </a:rPr>
              <a:t>aree di sotto-spesa</a:t>
            </a:r>
            <a:r>
              <a:rPr lang="it-IT" altLang="it-IT" dirty="0">
                <a:latin typeface="+mn-lt"/>
                <a:ea typeface="ＭＳ Ｐゴシック" panose="020B0600070205080204" pitchFamily="34" charset="-128"/>
              </a:rPr>
              <a:t>)</a:t>
            </a:r>
          </a:p>
          <a:p>
            <a:pPr>
              <a:spcBef>
                <a:spcPts val="1800"/>
              </a:spcBef>
              <a:buSzPct val="100000"/>
              <a:buFontTx/>
              <a:buChar char="•"/>
            </a:pPr>
            <a:r>
              <a:rPr lang="it-IT" altLang="it-IT" dirty="0">
                <a:latin typeface="+mn-lt"/>
                <a:ea typeface="ＭＳ Ｐゴシック" panose="020B0600070205080204" pitchFamily="34" charset="-128"/>
              </a:rPr>
              <a:t>In una prospettiva economica, esiste una margine </a:t>
            </a:r>
            <a:r>
              <a:rPr lang="it-IT" altLang="it-IT" b="1" dirty="0">
                <a:latin typeface="+mn-lt"/>
                <a:ea typeface="ＭＳ Ｐゴシック" panose="020B0600070205080204" pitchFamily="34" charset="-128"/>
              </a:rPr>
              <a:t>compatibilità tra appropriatezza prescrittiva e sostenibilità finanziaria</a:t>
            </a:r>
            <a:r>
              <a:rPr lang="it-IT" altLang="it-IT" dirty="0">
                <a:latin typeface="+mn-lt"/>
                <a:ea typeface="ＭＳ Ｐゴシック" panose="020B0600070205080204" pitchFamily="34" charset="-128"/>
              </a:rPr>
              <a:t> </a:t>
            </a:r>
          </a:p>
        </p:txBody>
      </p:sp>
    </p:spTree>
    <p:extLst>
      <p:ext uri="{BB962C8B-B14F-4D97-AF65-F5344CB8AC3E}">
        <p14:creationId xmlns:p14="http://schemas.microsoft.com/office/powerpoint/2010/main" val="3917829490"/>
      </p:ext>
    </p:extLst>
  </p:cSld>
  <p:clrMapOvr>
    <a:masterClrMapping/>
  </p:clrMapOvr>
  <p:transition spd="slow"/>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29" name="Titolo 14">
            <a:extLst>
              <a:ext uri="{FF2B5EF4-FFF2-40B4-BE49-F238E27FC236}">
                <a16:creationId xmlns:a16="http://schemas.microsoft.com/office/drawing/2014/main" id="{3B9FC1B5-9B61-1B4B-93CD-01AC1F2D3CF3}"/>
              </a:ext>
            </a:extLst>
          </p:cNvPr>
          <p:cNvSpPr>
            <a:spLocks noChangeArrowheads="1"/>
          </p:cNvSpPr>
          <p:nvPr/>
        </p:nvSpPr>
        <p:spPr bwMode="auto">
          <a:xfrm>
            <a:off x="793955" y="14060"/>
            <a:ext cx="10604090" cy="1419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it-IT" altLang="it-IT" sz="2000" dirty="0">
                <a:solidFill>
                  <a:srgbClr val="000000"/>
                </a:solidFill>
                <a:latin typeface="+mj-lt"/>
                <a:ea typeface="ＭＳ Ｐゴシック" panose="020B0600070205080204" pitchFamily="34" charset="-128"/>
                <a:cs typeface="Arial" panose="020B0604020202020204" pitchFamily="34" charset="0"/>
              </a:rPr>
              <a:t>PROSPETTIVE PER L’EQUILIBRIO TRA APPROPRIATEZZA PRESCRITTIVA E SOSTENIBILITÀ ECONOMICA NELL’USO DEI FARMACI: </a:t>
            </a:r>
          </a:p>
          <a:p>
            <a:pPr algn="ctr" eaLnBrk="1" hangingPunct="1"/>
            <a:r>
              <a:rPr lang="it-IT" altLang="it-IT" sz="2200" dirty="0">
                <a:solidFill>
                  <a:srgbClr val="000000"/>
                </a:solidFill>
                <a:latin typeface="+mj-lt"/>
                <a:ea typeface="ＭＳ Ｐゴシック" panose="020B0600070205080204" pitchFamily="34" charset="-128"/>
                <a:cs typeface="Arial" panose="020B0604020202020204" pitchFamily="34" charset="0"/>
              </a:rPr>
              <a:t>LE AREE DI </a:t>
            </a:r>
            <a:r>
              <a:rPr lang="it-IT" altLang="it-IT" sz="2200" i="1" dirty="0">
                <a:solidFill>
                  <a:srgbClr val="000000"/>
                </a:solidFill>
                <a:latin typeface="+mj-lt"/>
                <a:ea typeface="ＭＳ Ｐゴシック" panose="020B0600070205080204" pitchFamily="34" charset="-128"/>
                <a:cs typeface="Arial" panose="020B0604020202020204" pitchFamily="34" charset="0"/>
              </a:rPr>
              <a:t>SOTTO-UTILIZZO </a:t>
            </a:r>
            <a:r>
              <a:rPr lang="it-IT" altLang="it-IT" sz="2200" dirty="0">
                <a:solidFill>
                  <a:srgbClr val="000000"/>
                </a:solidFill>
                <a:latin typeface="+mj-lt"/>
                <a:ea typeface="ＭＳ Ｐゴシック" panose="020B0600070205080204" pitchFamily="34" charset="-128"/>
                <a:cs typeface="Arial" panose="020B0604020202020204" pitchFamily="34" charset="0"/>
              </a:rPr>
              <a:t>E DI </a:t>
            </a:r>
            <a:r>
              <a:rPr lang="it-IT" altLang="it-IT" sz="2200" i="1" dirty="0">
                <a:solidFill>
                  <a:srgbClr val="000000"/>
                </a:solidFill>
                <a:latin typeface="+mj-lt"/>
                <a:ea typeface="ＭＳ Ｐゴシック" panose="020B0600070205080204" pitchFamily="34" charset="-128"/>
                <a:cs typeface="Arial" panose="020B0604020202020204" pitchFamily="34" charset="0"/>
              </a:rPr>
              <a:t>SOVRA-UTILIZZO</a:t>
            </a:r>
          </a:p>
        </p:txBody>
      </p:sp>
      <p:sp>
        <p:nvSpPr>
          <p:cNvPr id="124930" name="Text Box 6">
            <a:extLst>
              <a:ext uri="{FF2B5EF4-FFF2-40B4-BE49-F238E27FC236}">
                <a16:creationId xmlns:a16="http://schemas.microsoft.com/office/drawing/2014/main" id="{A3411189-A113-7B4B-B172-7B2672C2899C}"/>
              </a:ext>
            </a:extLst>
          </p:cNvPr>
          <p:cNvSpPr txBox="1">
            <a:spLocks noChangeArrowheads="1"/>
          </p:cNvSpPr>
          <p:nvPr/>
        </p:nvSpPr>
        <p:spPr bwMode="auto">
          <a:xfrm>
            <a:off x="3971194" y="1208250"/>
            <a:ext cx="1584325" cy="527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spcBef>
                <a:spcPts val="1000"/>
              </a:spcBef>
            </a:pPr>
            <a:r>
              <a:rPr lang="it-IT" altLang="it-IT" sz="1600" dirty="0">
                <a:solidFill>
                  <a:schemeClr val="tx2"/>
                </a:solidFill>
                <a:latin typeface="Arial" panose="020B0604020202020204" pitchFamily="34" charset="0"/>
                <a:ea typeface="ＭＳ Ｐゴシック" panose="020B0600070205080204" pitchFamily="34" charset="-128"/>
              </a:rPr>
              <a:t>Indicato</a:t>
            </a:r>
          </a:p>
        </p:txBody>
      </p:sp>
      <p:sp>
        <p:nvSpPr>
          <p:cNvPr id="124931" name="Text Box 6">
            <a:extLst>
              <a:ext uri="{FF2B5EF4-FFF2-40B4-BE49-F238E27FC236}">
                <a16:creationId xmlns:a16="http://schemas.microsoft.com/office/drawing/2014/main" id="{FD64E8D0-9F7A-534B-89F2-92B1F6C1311C}"/>
              </a:ext>
            </a:extLst>
          </p:cNvPr>
          <p:cNvSpPr txBox="1">
            <a:spLocks noChangeArrowheads="1"/>
          </p:cNvSpPr>
          <p:nvPr/>
        </p:nvSpPr>
        <p:spPr bwMode="auto">
          <a:xfrm>
            <a:off x="7199312" y="1208250"/>
            <a:ext cx="1727200" cy="527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spcBef>
                <a:spcPts val="1000"/>
              </a:spcBef>
            </a:pPr>
            <a:r>
              <a:rPr lang="it-IT" altLang="it-IT" sz="1600" dirty="0">
                <a:solidFill>
                  <a:schemeClr val="tx2"/>
                </a:solidFill>
                <a:latin typeface="Arial" panose="020B0604020202020204" pitchFamily="34" charset="0"/>
                <a:ea typeface="ＭＳ Ｐゴシック" panose="020B0600070205080204" pitchFamily="34" charset="-128"/>
              </a:rPr>
              <a:t>Non Indicato</a:t>
            </a:r>
          </a:p>
        </p:txBody>
      </p:sp>
      <p:grpSp>
        <p:nvGrpSpPr>
          <p:cNvPr id="124932" name="Gruppo 20">
            <a:extLst>
              <a:ext uri="{FF2B5EF4-FFF2-40B4-BE49-F238E27FC236}">
                <a16:creationId xmlns:a16="http://schemas.microsoft.com/office/drawing/2014/main" id="{EFC79242-13F8-CD4B-BB1C-9CBBA2BEE9BB}"/>
              </a:ext>
            </a:extLst>
          </p:cNvPr>
          <p:cNvGrpSpPr>
            <a:grpSpLocks/>
          </p:cNvGrpSpPr>
          <p:nvPr/>
        </p:nvGrpSpPr>
        <p:grpSpPr bwMode="auto">
          <a:xfrm>
            <a:off x="2385744" y="1213000"/>
            <a:ext cx="7082722" cy="4380827"/>
            <a:chOff x="778817" y="1484308"/>
            <a:chExt cx="6623699" cy="4032258"/>
          </a:xfrm>
        </p:grpSpPr>
        <p:cxnSp>
          <p:nvCxnSpPr>
            <p:cNvPr id="124957" name="Connettore 1 2">
              <a:extLst>
                <a:ext uri="{FF2B5EF4-FFF2-40B4-BE49-F238E27FC236}">
                  <a16:creationId xmlns:a16="http://schemas.microsoft.com/office/drawing/2014/main" id="{345FB9A4-9308-FA4D-BEC6-54C238FF96FA}"/>
                </a:ext>
              </a:extLst>
            </p:cNvPr>
            <p:cNvCxnSpPr>
              <a:cxnSpLocks noChangeShapeType="1"/>
            </p:cNvCxnSpPr>
            <p:nvPr/>
          </p:nvCxnSpPr>
          <p:spPr bwMode="auto">
            <a:xfrm>
              <a:off x="1570033" y="3487741"/>
              <a:ext cx="5832483" cy="0"/>
            </a:xfrm>
            <a:prstGeom prst="straightConnector1">
              <a:avLst/>
            </a:prstGeom>
            <a:noFill/>
            <a:ln w="28575">
              <a:solidFill>
                <a:srgbClr val="000000"/>
              </a:solidFill>
              <a:round/>
              <a:headEnd/>
              <a:tailEnd/>
            </a:ln>
            <a:effectLst>
              <a:outerShdw dist="19997" dir="5400000" algn="tl" rotWithShape="0">
                <a:srgbClr val="808080">
                  <a:alpha val="37999"/>
                </a:srgbClr>
              </a:outerShdw>
            </a:effectLst>
            <a:extLst>
              <a:ext uri="{909E8E84-426E-40DD-AFC4-6F175D3DCCD1}">
                <a14:hiddenFill xmlns:a14="http://schemas.microsoft.com/office/drawing/2010/main">
                  <a:noFill/>
                </a14:hiddenFill>
              </a:ext>
            </a:extLst>
          </p:spPr>
        </p:cxnSp>
        <p:cxnSp>
          <p:nvCxnSpPr>
            <p:cNvPr id="124958" name="Connettore 1 6">
              <a:extLst>
                <a:ext uri="{FF2B5EF4-FFF2-40B4-BE49-F238E27FC236}">
                  <a16:creationId xmlns:a16="http://schemas.microsoft.com/office/drawing/2014/main" id="{F48B43EE-E9DE-0647-9A10-525EA1DC3F2C}"/>
                </a:ext>
              </a:extLst>
            </p:cNvPr>
            <p:cNvCxnSpPr>
              <a:cxnSpLocks noChangeShapeType="1"/>
            </p:cNvCxnSpPr>
            <p:nvPr/>
          </p:nvCxnSpPr>
          <p:spPr bwMode="auto">
            <a:xfrm flipV="1">
              <a:off x="4486275" y="1484308"/>
              <a:ext cx="0" cy="4032258"/>
            </a:xfrm>
            <a:prstGeom prst="straightConnector1">
              <a:avLst/>
            </a:prstGeom>
            <a:noFill/>
            <a:ln w="28575">
              <a:solidFill>
                <a:srgbClr val="000000"/>
              </a:solidFill>
              <a:round/>
              <a:headEnd/>
              <a:tailEnd/>
            </a:ln>
            <a:effectLst>
              <a:outerShdw dist="19997" dir="5400000" algn="tl" rotWithShape="0">
                <a:srgbClr val="808080">
                  <a:alpha val="37999"/>
                </a:srgbClr>
              </a:outerShdw>
            </a:effectLst>
            <a:extLst>
              <a:ext uri="{909E8E84-426E-40DD-AFC4-6F175D3DCCD1}">
                <a14:hiddenFill xmlns:a14="http://schemas.microsoft.com/office/drawing/2010/main">
                  <a:noFill/>
                </a14:hiddenFill>
              </a:ext>
            </a:extLst>
          </p:spPr>
        </p:cxnSp>
        <p:sp>
          <p:nvSpPr>
            <p:cNvPr id="124959" name="Text Box 6">
              <a:extLst>
                <a:ext uri="{FF2B5EF4-FFF2-40B4-BE49-F238E27FC236}">
                  <a16:creationId xmlns:a16="http://schemas.microsoft.com/office/drawing/2014/main" id="{815B505C-A6D9-544D-97BB-6E2FA81BA095}"/>
                </a:ext>
              </a:extLst>
            </p:cNvPr>
            <p:cNvSpPr txBox="1">
              <a:spLocks noChangeArrowheads="1"/>
            </p:cNvSpPr>
            <p:nvPr/>
          </p:nvSpPr>
          <p:spPr bwMode="auto">
            <a:xfrm rot="16200004">
              <a:off x="250180" y="4244974"/>
              <a:ext cx="1584326" cy="527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spcBef>
                  <a:spcPts val="1000"/>
                </a:spcBef>
              </a:pPr>
              <a:r>
                <a:rPr lang="it-IT" altLang="it-IT" sz="1600" dirty="0">
                  <a:solidFill>
                    <a:schemeClr val="tx2"/>
                  </a:solidFill>
                  <a:latin typeface="+mj-lt"/>
                  <a:ea typeface="ＭＳ Ｐゴシック" panose="020B0600070205080204" pitchFamily="34" charset="-128"/>
                </a:rPr>
                <a:t>Non Prescritto</a:t>
              </a:r>
            </a:p>
          </p:txBody>
        </p:sp>
        <p:sp>
          <p:nvSpPr>
            <p:cNvPr id="124960" name="Text Box 6">
              <a:extLst>
                <a:ext uri="{FF2B5EF4-FFF2-40B4-BE49-F238E27FC236}">
                  <a16:creationId xmlns:a16="http://schemas.microsoft.com/office/drawing/2014/main" id="{B61A2F22-55E8-F346-8BC3-A917CAEDB4D9}"/>
                </a:ext>
              </a:extLst>
            </p:cNvPr>
            <p:cNvSpPr txBox="1">
              <a:spLocks noChangeArrowheads="1"/>
            </p:cNvSpPr>
            <p:nvPr/>
          </p:nvSpPr>
          <p:spPr bwMode="auto">
            <a:xfrm rot="16200004">
              <a:off x="250180" y="2186344"/>
              <a:ext cx="1584326" cy="527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spcBef>
                  <a:spcPts val="1000"/>
                </a:spcBef>
              </a:pPr>
              <a:r>
                <a:rPr lang="it-IT" altLang="it-IT" sz="1600" dirty="0">
                  <a:solidFill>
                    <a:schemeClr val="tx2"/>
                  </a:solidFill>
                  <a:latin typeface="+mj-lt"/>
                  <a:ea typeface="ＭＳ Ｐゴシック" panose="020B0600070205080204" pitchFamily="34" charset="-128"/>
                </a:rPr>
                <a:t>Prescritto</a:t>
              </a:r>
            </a:p>
          </p:txBody>
        </p:sp>
        <p:sp>
          <p:nvSpPr>
            <p:cNvPr id="124961" name="Text Box 6">
              <a:extLst>
                <a:ext uri="{FF2B5EF4-FFF2-40B4-BE49-F238E27FC236}">
                  <a16:creationId xmlns:a16="http://schemas.microsoft.com/office/drawing/2014/main" id="{F8DF494D-4BE6-B24A-805D-9ACEFD56D9AC}"/>
                </a:ext>
              </a:extLst>
            </p:cNvPr>
            <p:cNvSpPr txBox="1">
              <a:spLocks noChangeArrowheads="1"/>
            </p:cNvSpPr>
            <p:nvPr/>
          </p:nvSpPr>
          <p:spPr bwMode="auto">
            <a:xfrm>
              <a:off x="2210176" y="2060705"/>
              <a:ext cx="1584326" cy="527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spcBef>
                  <a:spcPts val="1700"/>
                </a:spcBef>
              </a:pPr>
              <a:r>
                <a:rPr lang="it-IT" altLang="it-IT" sz="2800" b="1" dirty="0">
                  <a:latin typeface="+mj-lt"/>
                  <a:ea typeface="ＭＳ Ｐゴシック" panose="020B0600070205080204" pitchFamily="34" charset="-128"/>
                </a:rPr>
                <a:t>OK</a:t>
              </a:r>
            </a:p>
          </p:txBody>
        </p:sp>
        <p:sp>
          <p:nvSpPr>
            <p:cNvPr id="124962" name="Text Box 6">
              <a:extLst>
                <a:ext uri="{FF2B5EF4-FFF2-40B4-BE49-F238E27FC236}">
                  <a16:creationId xmlns:a16="http://schemas.microsoft.com/office/drawing/2014/main" id="{503A6200-A70C-0248-8389-DBDFDA31729D}"/>
                </a:ext>
              </a:extLst>
            </p:cNvPr>
            <p:cNvSpPr txBox="1">
              <a:spLocks noChangeArrowheads="1"/>
            </p:cNvSpPr>
            <p:nvPr/>
          </p:nvSpPr>
          <p:spPr bwMode="auto">
            <a:xfrm>
              <a:off x="5295891" y="4217564"/>
              <a:ext cx="1584326" cy="527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spcBef>
                  <a:spcPts val="1700"/>
                </a:spcBef>
              </a:pPr>
              <a:r>
                <a:rPr lang="it-IT" altLang="it-IT" sz="2800" b="1" dirty="0">
                  <a:latin typeface="+mj-lt"/>
                  <a:ea typeface="ＭＳ Ｐゴシック" panose="020B0600070205080204" pitchFamily="34" charset="-128"/>
                </a:rPr>
                <a:t>OK</a:t>
              </a:r>
            </a:p>
          </p:txBody>
        </p:sp>
      </p:grpSp>
      <p:sp>
        <p:nvSpPr>
          <p:cNvPr id="124934" name="Rectangle 109">
            <a:extLst>
              <a:ext uri="{FF2B5EF4-FFF2-40B4-BE49-F238E27FC236}">
                <a16:creationId xmlns:a16="http://schemas.microsoft.com/office/drawing/2014/main" id="{D756072F-8913-6B4A-9C0C-6AA32898D024}"/>
              </a:ext>
            </a:extLst>
          </p:cNvPr>
          <p:cNvSpPr>
            <a:spLocks noChangeArrowheads="1"/>
          </p:cNvSpPr>
          <p:nvPr/>
        </p:nvSpPr>
        <p:spPr bwMode="auto">
          <a:xfrm>
            <a:off x="6460877" y="5929967"/>
            <a:ext cx="5639588" cy="830997"/>
          </a:xfrm>
          <a:prstGeom prst="rect">
            <a:avLst/>
          </a:prstGeom>
          <a:solidFill>
            <a:srgbClr val="FFFFFF"/>
          </a:solidFill>
          <a:ln>
            <a:noFill/>
          </a:ln>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spcBef>
                <a:spcPts val="600"/>
              </a:spcBef>
            </a:pPr>
            <a:r>
              <a:rPr lang="it-IT" altLang="it-IT" sz="1200" dirty="0">
                <a:solidFill>
                  <a:schemeClr val="tx2"/>
                </a:solidFill>
                <a:latin typeface="+mj-lt"/>
                <a:ea typeface="ＭＳ Ｐゴシック" panose="020B0600070205080204" pitchFamily="34" charset="-128"/>
                <a:cs typeface="Arial" panose="020B0604020202020204" pitchFamily="34" charset="0"/>
              </a:rPr>
              <a:t>Fonte: </a:t>
            </a:r>
            <a:r>
              <a:rPr lang="it-IT" altLang="it-IT" sz="1200" i="1" dirty="0">
                <a:solidFill>
                  <a:schemeClr val="tx2"/>
                </a:solidFill>
                <a:latin typeface="+mj-lt"/>
                <a:ea typeface="ＭＳ Ｐゴシック" panose="020B0600070205080204" pitchFamily="34" charset="-128"/>
                <a:cs typeface="Arial" panose="020B0604020202020204" pitchFamily="34" charset="0"/>
              </a:rPr>
              <a:t>Degli Esposti L. L’equilibrio tra appropriatezza prescrittiva e sostenibilità economica. Dagli indicatori di consumo (variabilità prescrittiva) agli indicatori di percorso (aderenza al trattamento). Giornale Italiano di </a:t>
            </a:r>
            <a:r>
              <a:rPr lang="it-IT" altLang="it-IT" sz="1200" i="1" dirty="0" err="1">
                <a:solidFill>
                  <a:schemeClr val="tx2"/>
                </a:solidFill>
                <a:latin typeface="+mj-lt"/>
                <a:ea typeface="ＭＳ Ｐゴシック" panose="020B0600070205080204" pitchFamily="34" charset="-128"/>
                <a:cs typeface="Arial" panose="020B0604020202020204" pitchFamily="34" charset="0"/>
              </a:rPr>
              <a:t>Farmacoeconomia</a:t>
            </a:r>
            <a:r>
              <a:rPr lang="it-IT" altLang="it-IT" sz="1200" i="1" dirty="0">
                <a:solidFill>
                  <a:schemeClr val="tx2"/>
                </a:solidFill>
                <a:latin typeface="+mj-lt"/>
                <a:ea typeface="ＭＳ Ｐゴシック" panose="020B0600070205080204" pitchFamily="34" charset="-128"/>
                <a:cs typeface="Arial" panose="020B0604020202020204" pitchFamily="34" charset="0"/>
              </a:rPr>
              <a:t> e </a:t>
            </a:r>
            <a:r>
              <a:rPr lang="it-IT" altLang="it-IT" sz="1200" i="1" dirty="0" err="1">
                <a:solidFill>
                  <a:schemeClr val="tx2"/>
                </a:solidFill>
                <a:latin typeface="+mj-lt"/>
                <a:ea typeface="ＭＳ Ｐゴシック" panose="020B0600070205080204" pitchFamily="34" charset="-128"/>
                <a:cs typeface="Arial" panose="020B0604020202020204" pitchFamily="34" charset="0"/>
              </a:rPr>
              <a:t>Farmacoutilizzazione</a:t>
            </a:r>
            <a:r>
              <a:rPr lang="it-IT" altLang="it-IT" sz="1200" i="1" dirty="0">
                <a:solidFill>
                  <a:schemeClr val="tx2"/>
                </a:solidFill>
                <a:latin typeface="+mj-lt"/>
                <a:ea typeface="ＭＳ Ｐゴシック" panose="020B0600070205080204" pitchFamily="34" charset="-128"/>
                <a:cs typeface="Arial" panose="020B0604020202020204" pitchFamily="34" charset="0"/>
              </a:rPr>
              <a:t> </a:t>
            </a:r>
            <a:r>
              <a:rPr lang="is-IS" altLang="it-IT" sz="1200" i="1" dirty="0">
                <a:solidFill>
                  <a:schemeClr val="tx2"/>
                </a:solidFill>
                <a:latin typeface="+mj-lt"/>
                <a:ea typeface="ＭＳ Ｐゴシック" panose="020B0600070205080204" pitchFamily="34" charset="-128"/>
                <a:cs typeface="Arial" panose="020B0604020202020204" pitchFamily="34" charset="0"/>
              </a:rPr>
              <a:t>2015</a:t>
            </a:r>
            <a:r>
              <a:rPr lang="it-IT" altLang="it-IT" sz="1200" i="1" dirty="0">
                <a:solidFill>
                  <a:schemeClr val="tx2"/>
                </a:solidFill>
                <a:latin typeface="+mj-lt"/>
                <a:ea typeface="ＭＳ Ｐゴシック" panose="020B0600070205080204" pitchFamily="34" charset="-128"/>
                <a:cs typeface="Arial" panose="020B0604020202020204" pitchFamily="34" charset="0"/>
              </a:rPr>
              <a:t>; 6(2).</a:t>
            </a:r>
          </a:p>
        </p:txBody>
      </p:sp>
      <p:sp>
        <p:nvSpPr>
          <p:cNvPr id="4" name="Rettangolo 3">
            <a:extLst>
              <a:ext uri="{FF2B5EF4-FFF2-40B4-BE49-F238E27FC236}">
                <a16:creationId xmlns:a16="http://schemas.microsoft.com/office/drawing/2014/main" id="{E3F41B6B-D42C-F84E-82F0-9A644E636118}"/>
              </a:ext>
            </a:extLst>
          </p:cNvPr>
          <p:cNvSpPr/>
          <p:nvPr/>
        </p:nvSpPr>
        <p:spPr>
          <a:xfrm>
            <a:off x="3311606" y="3508488"/>
            <a:ext cx="2929478" cy="1551590"/>
          </a:xfrm>
          <a:prstGeom prst="rect">
            <a:avLst/>
          </a:prstGeom>
          <a:solidFill>
            <a:srgbClr val="0096FF"/>
          </a:solidFill>
          <a:ln>
            <a:solidFill>
              <a:srgbClr val="0432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800" b="1" dirty="0">
                <a:solidFill>
                  <a:schemeClr val="tx1"/>
                </a:solidFill>
              </a:rPr>
              <a:t>SOTTO-USO</a:t>
            </a:r>
          </a:p>
          <a:p>
            <a:r>
              <a:rPr lang="it-IT" sz="1600" dirty="0"/>
              <a:t>- Prevenzione secondaria</a:t>
            </a:r>
          </a:p>
          <a:p>
            <a:r>
              <a:rPr lang="it-IT" sz="1600" dirty="0"/>
              <a:t>- Terapie ad alto costo</a:t>
            </a:r>
          </a:p>
          <a:p>
            <a:r>
              <a:rPr lang="it-IT" sz="1600" dirty="0"/>
              <a:t>- Aderenza al trattamento</a:t>
            </a:r>
          </a:p>
        </p:txBody>
      </p:sp>
      <p:sp>
        <p:nvSpPr>
          <p:cNvPr id="5" name="Rettangolo 4">
            <a:extLst>
              <a:ext uri="{FF2B5EF4-FFF2-40B4-BE49-F238E27FC236}">
                <a16:creationId xmlns:a16="http://schemas.microsoft.com/office/drawing/2014/main" id="{A4EB1445-90E8-6841-8153-2F85F1067B01}"/>
              </a:ext>
            </a:extLst>
          </p:cNvPr>
          <p:cNvSpPr/>
          <p:nvPr/>
        </p:nvSpPr>
        <p:spPr>
          <a:xfrm>
            <a:off x="6463739" y="1636680"/>
            <a:ext cx="2816932" cy="16653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800" b="1" dirty="0">
                <a:solidFill>
                  <a:schemeClr val="tx1"/>
                </a:solidFill>
              </a:rPr>
              <a:t>SOVRA-USO</a:t>
            </a:r>
          </a:p>
          <a:p>
            <a:r>
              <a:rPr lang="it-IT" sz="1600" dirty="0"/>
              <a:t>- Farmaci «abitudine»</a:t>
            </a:r>
          </a:p>
          <a:p>
            <a:r>
              <a:rPr lang="it-IT" sz="1600" dirty="0"/>
              <a:t>- Modalità «abitudine»</a:t>
            </a:r>
          </a:p>
          <a:p>
            <a:r>
              <a:rPr lang="it-IT" sz="1600" dirty="0"/>
              <a:t>- Terapie ad alto costo ma senza </a:t>
            </a:r>
            <a:r>
              <a:rPr lang="it-IT" sz="1600" i="1" dirty="0" err="1"/>
              <a:t>value</a:t>
            </a:r>
            <a:endParaRPr lang="it-IT" sz="1600" i="1" dirty="0"/>
          </a:p>
        </p:txBody>
      </p:sp>
      <p:sp>
        <p:nvSpPr>
          <p:cNvPr id="6" name="Freccia su 5">
            <a:extLst>
              <a:ext uri="{FF2B5EF4-FFF2-40B4-BE49-F238E27FC236}">
                <a16:creationId xmlns:a16="http://schemas.microsoft.com/office/drawing/2014/main" id="{D5923282-8809-4442-B293-5D7840ACC7AA}"/>
              </a:ext>
            </a:extLst>
          </p:cNvPr>
          <p:cNvSpPr/>
          <p:nvPr/>
        </p:nvSpPr>
        <p:spPr>
          <a:xfrm>
            <a:off x="4554908" y="2723144"/>
            <a:ext cx="416896" cy="865828"/>
          </a:xfrm>
          <a:prstGeom prst="up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41" name="Freccia su 40">
            <a:extLst>
              <a:ext uri="{FF2B5EF4-FFF2-40B4-BE49-F238E27FC236}">
                <a16:creationId xmlns:a16="http://schemas.microsoft.com/office/drawing/2014/main" id="{722EAC57-E867-7944-A9B6-502948329F10}"/>
              </a:ext>
            </a:extLst>
          </p:cNvPr>
          <p:cNvSpPr/>
          <p:nvPr/>
        </p:nvSpPr>
        <p:spPr>
          <a:xfrm rot="10800000">
            <a:off x="7856387" y="3222841"/>
            <a:ext cx="416896" cy="865828"/>
          </a:xfrm>
          <a:prstGeom prst="up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spTree>
    <p:extLst>
      <p:ext uri="{BB962C8B-B14F-4D97-AF65-F5344CB8AC3E}">
        <p14:creationId xmlns:p14="http://schemas.microsoft.com/office/powerpoint/2010/main" val="18953249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p:cNvSpPr>
            <a:spLocks noGrp="1"/>
          </p:cNvSpPr>
          <p:nvPr>
            <p:ph idx="1"/>
          </p:nvPr>
        </p:nvSpPr>
        <p:spPr>
          <a:xfrm>
            <a:off x="685800" y="1567544"/>
            <a:ext cx="10820400" cy="4651142"/>
          </a:xfrm>
        </p:spPr>
        <p:txBody>
          <a:bodyPr>
            <a:normAutofit fontScale="85000" lnSpcReduction="20000"/>
          </a:bodyPr>
          <a:lstStyle/>
          <a:p>
            <a:r>
              <a:rPr lang="it-IT" dirty="0"/>
              <a:t>Studi osservazionali e sperimentali: nozioni di base per leggere uno studio clinico.  </a:t>
            </a:r>
          </a:p>
          <a:p>
            <a:r>
              <a:rPr lang="it-IT" dirty="0"/>
              <a:t>Classificazione delle sperimentazioni: sperimentazioni non controllate, sperimentazioni controllate non randomizzate, sperimentazioni controllate e randomizzate. </a:t>
            </a:r>
            <a:r>
              <a:rPr lang="it-IT" dirty="0" err="1"/>
              <a:t>Metanalisi</a:t>
            </a:r>
            <a:r>
              <a:rPr lang="it-IT" dirty="0"/>
              <a:t> e revisioni sistematiche. </a:t>
            </a:r>
          </a:p>
          <a:p>
            <a:r>
              <a:rPr lang="it-IT" dirty="0"/>
              <a:t>Piramide delle evidenze. Cenni di analisi statistica. Il disegno sperimentale: principi essenziali, randomizzazione, cecità, gruppo di controllo, </a:t>
            </a:r>
            <a:r>
              <a:rPr lang="it-IT" dirty="0" err="1"/>
              <a:t>endpoint</a:t>
            </a:r>
            <a:r>
              <a:rPr lang="it-IT" dirty="0"/>
              <a:t> veri e surrogati. Fattori di confondimento, potenza statistica, dimensione del campione.</a:t>
            </a:r>
          </a:p>
          <a:p>
            <a:r>
              <a:rPr lang="it-IT" dirty="0"/>
              <a:t>La valutazione di efficacia dei farmaci: significato di </a:t>
            </a:r>
            <a:r>
              <a:rPr lang="it-IT" dirty="0" err="1"/>
              <a:t>efficacy</a:t>
            </a:r>
            <a:r>
              <a:rPr lang="it-IT" dirty="0"/>
              <a:t> e di </a:t>
            </a:r>
            <a:r>
              <a:rPr lang="it-IT" dirty="0" err="1"/>
              <a:t>effectiveness</a:t>
            </a:r>
            <a:r>
              <a:rPr lang="it-IT" dirty="0"/>
              <a:t>.</a:t>
            </a:r>
          </a:p>
          <a:p>
            <a:r>
              <a:rPr lang="it-IT" dirty="0"/>
              <a:t>NNT come indicatore della convenienza dell’investimento.</a:t>
            </a:r>
          </a:p>
          <a:p>
            <a:r>
              <a:rPr lang="it-IT" dirty="0"/>
              <a:t>Esempi di valutazione di studi sui farmaci. Significatività statistica e significatività clinica. </a:t>
            </a:r>
          </a:p>
          <a:p>
            <a:r>
              <a:rPr lang="it-IT" dirty="0"/>
              <a:t>Analisi critica degli studi. Valutazione dell’innovazione, del “</a:t>
            </a:r>
            <a:r>
              <a:rPr lang="it-IT" dirty="0" err="1"/>
              <a:t>place</a:t>
            </a:r>
            <a:r>
              <a:rPr lang="it-IT" dirty="0"/>
              <a:t> in </a:t>
            </a:r>
            <a:r>
              <a:rPr lang="it-IT" dirty="0" err="1"/>
              <a:t>therapy</a:t>
            </a:r>
            <a:r>
              <a:rPr lang="it-IT" dirty="0"/>
              <a:t>” di un medicinale.</a:t>
            </a:r>
          </a:p>
          <a:p>
            <a:r>
              <a:rPr lang="it-IT" dirty="0"/>
              <a:t>Appropriatezza terapeutica e impatto economico.</a:t>
            </a:r>
          </a:p>
          <a:p>
            <a:r>
              <a:rPr lang="it-IT" dirty="0"/>
              <a:t>Aderenza al trattamento, correlazione con i costi e ruolo del farmacista. </a:t>
            </a:r>
          </a:p>
          <a:p>
            <a:r>
              <a:rPr lang="it-IT" dirty="0"/>
              <a:t>La </a:t>
            </a:r>
            <a:r>
              <a:rPr lang="it-IT" dirty="0" err="1"/>
              <a:t>politerapia</a:t>
            </a:r>
            <a:r>
              <a:rPr lang="it-IT" dirty="0"/>
              <a:t> nelle patologie croniche, le interazioni farmacologiche e le ADR. </a:t>
            </a:r>
          </a:p>
          <a:p>
            <a:r>
              <a:rPr lang="it-IT" dirty="0"/>
              <a:t>Efficacia, sicurezza e costi. Il valore economico di un trattamento farmacologico.</a:t>
            </a:r>
          </a:p>
          <a:p>
            <a:pPr marL="0" indent="0">
              <a:buNone/>
            </a:pPr>
            <a:endParaRPr lang="it-IT" dirty="0"/>
          </a:p>
        </p:txBody>
      </p:sp>
    </p:spTree>
    <p:extLst>
      <p:ext uri="{BB962C8B-B14F-4D97-AF65-F5344CB8AC3E}">
        <p14:creationId xmlns:p14="http://schemas.microsoft.com/office/powerpoint/2010/main" val="30681932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1">
            <a:extLst>
              <a:ext uri="{FF2B5EF4-FFF2-40B4-BE49-F238E27FC236}">
                <a16:creationId xmlns:a16="http://schemas.microsoft.com/office/drawing/2014/main" id="{3D4AF27C-CF98-5F44-8979-AF870B5107C1}"/>
              </a:ext>
            </a:extLst>
          </p:cNvPr>
          <p:cNvSpPr txBox="1">
            <a:spLocks noGrp="1"/>
          </p:cNvSpPr>
          <p:nvPr>
            <p:ph type="title"/>
          </p:nvPr>
        </p:nvSpPr>
        <p:spPr>
          <a:xfrm>
            <a:off x="664626" y="25972"/>
            <a:ext cx="10820400" cy="720725"/>
          </a:xfrm>
        </p:spPr>
        <p:txBody>
          <a:bodyPr>
            <a:noAutofit/>
          </a:bodyPr>
          <a:lstStyle/>
          <a:p>
            <a:pPr algn="ctr" defTabSz="457209">
              <a:lnSpc>
                <a:spcPct val="150000"/>
              </a:lnSpc>
              <a:spcBef>
                <a:spcPts val="0"/>
              </a:spcBef>
              <a:defRPr/>
            </a:pPr>
            <a:r>
              <a:rPr lang="it-IT" sz="2400" cap="none" dirty="0">
                <a:latin typeface="+mn-lt"/>
              </a:rPr>
              <a:t>L’IMPATTO ECONOMICO DI UNA MIGLIORE ADERENZA</a:t>
            </a:r>
          </a:p>
        </p:txBody>
      </p:sp>
      <p:sp>
        <p:nvSpPr>
          <p:cNvPr id="126985" name="CasellaDiTesto 27">
            <a:extLst>
              <a:ext uri="{FF2B5EF4-FFF2-40B4-BE49-F238E27FC236}">
                <a16:creationId xmlns:a16="http://schemas.microsoft.com/office/drawing/2014/main" id="{DBCBBC99-C40F-1442-B45C-4AFDB2F3A8D5}"/>
              </a:ext>
            </a:extLst>
          </p:cNvPr>
          <p:cNvSpPr txBox="1">
            <a:spLocks noChangeArrowheads="1"/>
          </p:cNvSpPr>
          <p:nvPr/>
        </p:nvSpPr>
        <p:spPr bwMode="auto">
          <a:xfrm rot="16200000">
            <a:off x="1286241" y="2403422"/>
            <a:ext cx="129667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it-IT" altLang="it-IT" sz="1600" dirty="0">
                <a:latin typeface="+mn-lt"/>
              </a:rPr>
              <a:t> Prescritto</a:t>
            </a:r>
          </a:p>
        </p:txBody>
      </p:sp>
      <p:sp>
        <p:nvSpPr>
          <p:cNvPr id="126986" name="CasellaDiTesto 28">
            <a:extLst>
              <a:ext uri="{FF2B5EF4-FFF2-40B4-BE49-F238E27FC236}">
                <a16:creationId xmlns:a16="http://schemas.microsoft.com/office/drawing/2014/main" id="{255E3CC4-25A2-C54F-B6E8-F345D3CAE809}"/>
              </a:ext>
            </a:extLst>
          </p:cNvPr>
          <p:cNvSpPr txBox="1">
            <a:spLocks noChangeArrowheads="1"/>
          </p:cNvSpPr>
          <p:nvPr/>
        </p:nvSpPr>
        <p:spPr bwMode="auto">
          <a:xfrm rot="16200000">
            <a:off x="1443310" y="4091059"/>
            <a:ext cx="1119186"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it-IT" altLang="it-IT" sz="1600" dirty="0">
                <a:latin typeface="+mn-lt"/>
              </a:rPr>
              <a:t>Non Prescritto</a:t>
            </a:r>
          </a:p>
        </p:txBody>
      </p:sp>
      <p:sp>
        <p:nvSpPr>
          <p:cNvPr id="126989" name="CasellaDiTesto 38">
            <a:extLst>
              <a:ext uri="{FF2B5EF4-FFF2-40B4-BE49-F238E27FC236}">
                <a16:creationId xmlns:a16="http://schemas.microsoft.com/office/drawing/2014/main" id="{577B17A8-8B84-3A43-8AEF-BBAA84CAE38C}"/>
              </a:ext>
            </a:extLst>
          </p:cNvPr>
          <p:cNvSpPr txBox="1">
            <a:spLocks noChangeArrowheads="1"/>
          </p:cNvSpPr>
          <p:nvPr/>
        </p:nvSpPr>
        <p:spPr bwMode="auto">
          <a:xfrm>
            <a:off x="1050227" y="6018999"/>
            <a:ext cx="10322684" cy="584775"/>
          </a:xfrm>
          <a:prstGeom prst="rect">
            <a:avLst/>
          </a:prstGeom>
          <a:solidFill>
            <a:srgbClr val="E5F6FF"/>
          </a:solidFill>
          <a:ln>
            <a:noFill/>
          </a:ln>
        </p:spPr>
        <p:txBody>
          <a:bodyPr wrap="square" anchorCtr="1">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it-IT" altLang="it-IT" sz="1600" dirty="0">
                <a:solidFill>
                  <a:srgbClr val="000000"/>
                </a:solidFill>
                <a:latin typeface="+mn-lt"/>
              </a:rPr>
              <a:t>E’ necessario pertanto identificare sia le aree di sotto–spesa sia le aree di sovra–spesa in modo da ottenere un risultato di “</a:t>
            </a:r>
            <a:r>
              <a:rPr lang="it-IT" altLang="it-IT" sz="1600" b="1" dirty="0" err="1">
                <a:solidFill>
                  <a:srgbClr val="000000"/>
                </a:solidFill>
                <a:latin typeface="+mn-lt"/>
              </a:rPr>
              <a:t>iso</a:t>
            </a:r>
            <a:r>
              <a:rPr lang="it-IT" altLang="it-IT" sz="1600" b="1" dirty="0">
                <a:solidFill>
                  <a:srgbClr val="000000"/>
                </a:solidFill>
                <a:latin typeface="+mn-lt"/>
              </a:rPr>
              <a:t>-risorse</a:t>
            </a:r>
            <a:r>
              <a:rPr lang="it-IT" altLang="it-IT" sz="1600" dirty="0">
                <a:solidFill>
                  <a:srgbClr val="000000"/>
                </a:solidFill>
                <a:latin typeface="+mn-lt"/>
              </a:rPr>
              <a:t>” all’interno del perimetro della spesa farmaceutica</a:t>
            </a:r>
          </a:p>
        </p:txBody>
      </p:sp>
      <p:cxnSp>
        <p:nvCxnSpPr>
          <p:cNvPr id="27" name="Connettore 1 2">
            <a:extLst>
              <a:ext uri="{FF2B5EF4-FFF2-40B4-BE49-F238E27FC236}">
                <a16:creationId xmlns:a16="http://schemas.microsoft.com/office/drawing/2014/main" id="{D7F49245-012A-6E44-8462-A107B9D3A378}"/>
              </a:ext>
            </a:extLst>
          </p:cNvPr>
          <p:cNvCxnSpPr>
            <a:cxnSpLocks noChangeShapeType="1"/>
          </p:cNvCxnSpPr>
          <p:nvPr/>
        </p:nvCxnSpPr>
        <p:spPr bwMode="auto">
          <a:xfrm>
            <a:off x="1237692" y="3700668"/>
            <a:ext cx="9999406" cy="0"/>
          </a:xfrm>
          <a:prstGeom prst="straightConnector1">
            <a:avLst/>
          </a:prstGeom>
          <a:noFill/>
          <a:ln w="28575">
            <a:solidFill>
              <a:srgbClr val="000000"/>
            </a:solidFill>
            <a:round/>
            <a:headEnd/>
            <a:tailEnd/>
          </a:ln>
          <a:effectLst>
            <a:outerShdw dist="19997" dir="5400000" algn="tl" rotWithShape="0">
              <a:srgbClr val="808080">
                <a:alpha val="37999"/>
              </a:srgbClr>
            </a:outerShdw>
          </a:effectLst>
          <a:extLst>
            <a:ext uri="{909E8E84-426E-40DD-AFC4-6F175D3DCCD1}">
              <a14:hiddenFill xmlns:a14="http://schemas.microsoft.com/office/drawing/2010/main">
                <a:noFill/>
              </a14:hiddenFill>
            </a:ext>
          </a:extLst>
        </p:spPr>
      </p:cxnSp>
      <p:cxnSp>
        <p:nvCxnSpPr>
          <p:cNvPr id="34" name="Connettore 1 6">
            <a:extLst>
              <a:ext uri="{FF2B5EF4-FFF2-40B4-BE49-F238E27FC236}">
                <a16:creationId xmlns:a16="http://schemas.microsoft.com/office/drawing/2014/main" id="{50E597D3-0D30-854A-B7F1-7E8CAFEE25A5}"/>
              </a:ext>
            </a:extLst>
          </p:cNvPr>
          <p:cNvCxnSpPr>
            <a:cxnSpLocks noChangeShapeType="1"/>
          </p:cNvCxnSpPr>
          <p:nvPr/>
        </p:nvCxnSpPr>
        <p:spPr bwMode="auto">
          <a:xfrm flipV="1">
            <a:off x="6074826" y="1445342"/>
            <a:ext cx="0" cy="4215685"/>
          </a:xfrm>
          <a:prstGeom prst="straightConnector1">
            <a:avLst/>
          </a:prstGeom>
          <a:noFill/>
          <a:ln w="28575">
            <a:solidFill>
              <a:srgbClr val="000000"/>
            </a:solidFill>
            <a:round/>
            <a:headEnd/>
            <a:tailEnd/>
          </a:ln>
          <a:effectLst>
            <a:outerShdw dist="19997" dir="5400000" algn="tl" rotWithShape="0">
              <a:srgbClr val="808080">
                <a:alpha val="37999"/>
              </a:srgbClr>
            </a:outerShdw>
          </a:effectLst>
          <a:extLst>
            <a:ext uri="{909E8E84-426E-40DD-AFC4-6F175D3DCCD1}">
              <a14:hiddenFill xmlns:a14="http://schemas.microsoft.com/office/drawing/2010/main">
                <a:noFill/>
              </a14:hiddenFill>
            </a:ext>
          </a:extLst>
        </p:spPr>
      </p:cxnSp>
      <p:sp>
        <p:nvSpPr>
          <p:cNvPr id="17" name="CasellaDiTesto 16">
            <a:extLst>
              <a:ext uri="{FF2B5EF4-FFF2-40B4-BE49-F238E27FC236}">
                <a16:creationId xmlns:a16="http://schemas.microsoft.com/office/drawing/2014/main" id="{8CC43664-43AB-DE46-BE62-29AE5279AE42}"/>
              </a:ext>
            </a:extLst>
          </p:cNvPr>
          <p:cNvSpPr txBox="1"/>
          <p:nvPr/>
        </p:nvSpPr>
        <p:spPr>
          <a:xfrm>
            <a:off x="567370" y="720354"/>
            <a:ext cx="11014911" cy="523220"/>
          </a:xfrm>
          <a:prstGeom prst="rect">
            <a:avLst/>
          </a:prstGeom>
          <a:noFill/>
        </p:spPr>
        <p:txBody>
          <a:bodyPr wrap="square" rtlCol="0">
            <a:spAutoFit/>
          </a:bodyPr>
          <a:lstStyle/>
          <a:p>
            <a:pPr algn="ctr"/>
            <a:r>
              <a:rPr lang="it-IT" sz="1400" dirty="0"/>
              <a:t>Il nostro Servizio Sanitario è caratterizzato da vincoli di bilancio nel breve periodo e non è in grado di sostenere una crescita non controllata della spesa farmaceutica</a:t>
            </a:r>
          </a:p>
        </p:txBody>
      </p:sp>
      <p:sp>
        <p:nvSpPr>
          <p:cNvPr id="47" name="Text Box 6">
            <a:extLst>
              <a:ext uri="{FF2B5EF4-FFF2-40B4-BE49-F238E27FC236}">
                <a16:creationId xmlns:a16="http://schemas.microsoft.com/office/drawing/2014/main" id="{E6874F84-8380-D44B-B7CC-4559CBCE25A6}"/>
              </a:ext>
            </a:extLst>
          </p:cNvPr>
          <p:cNvSpPr txBox="1">
            <a:spLocks noChangeArrowheads="1"/>
          </p:cNvSpPr>
          <p:nvPr/>
        </p:nvSpPr>
        <p:spPr bwMode="auto">
          <a:xfrm>
            <a:off x="3067019" y="1314156"/>
            <a:ext cx="1584325" cy="527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spcBef>
                <a:spcPts val="1000"/>
              </a:spcBef>
            </a:pPr>
            <a:r>
              <a:rPr lang="it-IT" altLang="it-IT" sz="1600" b="1" dirty="0">
                <a:solidFill>
                  <a:schemeClr val="tx2"/>
                </a:solidFill>
                <a:latin typeface="+mn-lt"/>
                <a:ea typeface="ＭＳ Ｐゴシック" panose="020B0600070205080204" pitchFamily="34" charset="-128"/>
              </a:rPr>
              <a:t>INDICATO</a:t>
            </a:r>
          </a:p>
        </p:txBody>
      </p:sp>
      <p:sp>
        <p:nvSpPr>
          <p:cNvPr id="48" name="Text Box 6">
            <a:extLst>
              <a:ext uri="{FF2B5EF4-FFF2-40B4-BE49-F238E27FC236}">
                <a16:creationId xmlns:a16="http://schemas.microsoft.com/office/drawing/2014/main" id="{DABE9AEC-7FA5-6F4A-A051-6DAF658F1CFA}"/>
              </a:ext>
            </a:extLst>
          </p:cNvPr>
          <p:cNvSpPr txBox="1">
            <a:spLocks noChangeArrowheads="1"/>
          </p:cNvSpPr>
          <p:nvPr/>
        </p:nvSpPr>
        <p:spPr bwMode="auto">
          <a:xfrm>
            <a:off x="7581165" y="1314156"/>
            <a:ext cx="1727200" cy="527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spcBef>
                <a:spcPts val="1000"/>
              </a:spcBef>
            </a:pPr>
            <a:r>
              <a:rPr lang="it-IT" altLang="it-IT" sz="1600" b="1" dirty="0">
                <a:solidFill>
                  <a:schemeClr val="tx2"/>
                </a:solidFill>
                <a:latin typeface="+mn-lt"/>
                <a:ea typeface="ＭＳ Ｐゴシック" panose="020B0600070205080204" pitchFamily="34" charset="-128"/>
              </a:rPr>
              <a:t>NON INDICATO</a:t>
            </a:r>
          </a:p>
        </p:txBody>
      </p:sp>
      <p:sp>
        <p:nvSpPr>
          <p:cNvPr id="49" name="Rettangolo 48">
            <a:extLst>
              <a:ext uri="{FF2B5EF4-FFF2-40B4-BE49-F238E27FC236}">
                <a16:creationId xmlns:a16="http://schemas.microsoft.com/office/drawing/2014/main" id="{CE971FFC-1611-7048-88DD-0D27B8F40370}"/>
              </a:ext>
            </a:extLst>
          </p:cNvPr>
          <p:cNvSpPr/>
          <p:nvPr/>
        </p:nvSpPr>
        <p:spPr>
          <a:xfrm>
            <a:off x="2760471" y="3882756"/>
            <a:ext cx="3174065" cy="1649287"/>
          </a:xfrm>
          <a:prstGeom prst="rect">
            <a:avLst/>
          </a:prstGeom>
          <a:solidFill>
            <a:srgbClr val="8EFA00"/>
          </a:solidFill>
          <a:ln>
            <a:solidFill>
              <a:srgbClr val="8EF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ltLang="it-IT" sz="1500" dirty="0">
                <a:solidFill>
                  <a:srgbClr val="202020"/>
                </a:solidFill>
              </a:rPr>
              <a:t>Uso di medicinali insufficientemente potenti</a:t>
            </a:r>
          </a:p>
          <a:p>
            <a:pPr algn="ctr"/>
            <a:endParaRPr lang="it-IT" altLang="it-IT" sz="1500" baseline="30000" dirty="0">
              <a:solidFill>
                <a:srgbClr val="202020"/>
              </a:solidFill>
            </a:endParaRPr>
          </a:p>
          <a:p>
            <a:pPr algn="ctr"/>
            <a:r>
              <a:rPr lang="it-IT" altLang="it-IT" sz="1500" dirty="0">
                <a:solidFill>
                  <a:srgbClr val="202020"/>
                </a:solidFill>
              </a:rPr>
              <a:t>Aderenza al trattamento</a:t>
            </a:r>
          </a:p>
          <a:p>
            <a:pPr algn="ctr"/>
            <a:endParaRPr lang="it-IT" altLang="it-IT" sz="1500" dirty="0">
              <a:solidFill>
                <a:srgbClr val="202020"/>
              </a:solidFill>
            </a:endParaRPr>
          </a:p>
          <a:p>
            <a:pPr algn="ctr"/>
            <a:r>
              <a:rPr lang="it-IT" altLang="it-IT" sz="1500" dirty="0">
                <a:solidFill>
                  <a:srgbClr val="202020"/>
                </a:solidFill>
              </a:rPr>
              <a:t>Prescrizioni in difetto rispetto alle indicazioni</a:t>
            </a:r>
            <a:endParaRPr lang="it-IT" sz="1500" dirty="0"/>
          </a:p>
        </p:txBody>
      </p:sp>
      <p:sp>
        <p:nvSpPr>
          <p:cNvPr id="18" name="Rettangolo 17">
            <a:extLst>
              <a:ext uri="{FF2B5EF4-FFF2-40B4-BE49-F238E27FC236}">
                <a16:creationId xmlns:a16="http://schemas.microsoft.com/office/drawing/2014/main" id="{1983A798-DE0F-F541-AEAC-0AF2A9C2CF78}"/>
              </a:ext>
            </a:extLst>
          </p:cNvPr>
          <p:cNvSpPr/>
          <p:nvPr/>
        </p:nvSpPr>
        <p:spPr>
          <a:xfrm>
            <a:off x="6211569" y="1791929"/>
            <a:ext cx="4173790" cy="1800295"/>
          </a:xfrm>
          <a:prstGeom prst="rect">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ltLang="it-IT" sz="1500" dirty="0">
                <a:solidFill>
                  <a:schemeClr val="tx1"/>
                </a:solidFill>
              </a:rPr>
              <a:t>Uso di medicinali inutilmente potenti</a:t>
            </a:r>
          </a:p>
          <a:p>
            <a:pPr algn="ctr"/>
            <a:endParaRPr lang="it-IT" sz="1500" dirty="0">
              <a:solidFill>
                <a:schemeClr val="tx1"/>
              </a:solidFill>
            </a:endParaRPr>
          </a:p>
          <a:p>
            <a:pPr algn="ctr"/>
            <a:r>
              <a:rPr lang="it-IT" altLang="it-IT" sz="1500" dirty="0">
                <a:solidFill>
                  <a:schemeClr val="tx1"/>
                </a:solidFill>
              </a:rPr>
              <a:t>Uso off-</a:t>
            </a:r>
            <a:r>
              <a:rPr lang="it-IT" altLang="it-IT" sz="1500" dirty="0" err="1">
                <a:solidFill>
                  <a:schemeClr val="tx1"/>
                </a:solidFill>
              </a:rPr>
              <a:t>label</a:t>
            </a:r>
            <a:r>
              <a:rPr lang="it-IT" altLang="it-IT" sz="1500" dirty="0">
                <a:solidFill>
                  <a:schemeClr val="tx1"/>
                </a:solidFill>
              </a:rPr>
              <a:t> e in assenza dei requisiti di rimborsabilità</a:t>
            </a:r>
          </a:p>
          <a:p>
            <a:pPr algn="ctr"/>
            <a:endParaRPr lang="it-IT" altLang="it-IT" sz="1500" dirty="0">
              <a:solidFill>
                <a:schemeClr val="tx1"/>
              </a:solidFill>
            </a:endParaRPr>
          </a:p>
          <a:p>
            <a:pPr algn="ctr"/>
            <a:r>
              <a:rPr lang="it-IT" altLang="it-IT" sz="1500" dirty="0">
                <a:solidFill>
                  <a:schemeClr val="tx1"/>
                </a:solidFill>
              </a:rPr>
              <a:t>Prescrizioni in eccesso rispetto alle indicazioni</a:t>
            </a:r>
            <a:endParaRPr lang="it-IT" sz="1500" dirty="0">
              <a:solidFill>
                <a:schemeClr val="tx1"/>
              </a:solidFill>
            </a:endParaRPr>
          </a:p>
        </p:txBody>
      </p:sp>
      <p:sp>
        <p:nvSpPr>
          <p:cNvPr id="19" name="Freccia su 18">
            <a:extLst>
              <a:ext uri="{FF2B5EF4-FFF2-40B4-BE49-F238E27FC236}">
                <a16:creationId xmlns:a16="http://schemas.microsoft.com/office/drawing/2014/main" id="{57FE0BE9-7CC6-6849-A492-ACF304E54C73}"/>
              </a:ext>
            </a:extLst>
          </p:cNvPr>
          <p:cNvSpPr/>
          <p:nvPr/>
        </p:nvSpPr>
        <p:spPr>
          <a:xfrm>
            <a:off x="4126277" y="2233471"/>
            <a:ext cx="442452" cy="1649286"/>
          </a:xfrm>
          <a:prstGeom prst="upArrow">
            <a:avLst/>
          </a:prstGeom>
          <a:solidFill>
            <a:srgbClr val="8EFA00"/>
          </a:solidFill>
          <a:ln>
            <a:solidFill>
              <a:srgbClr val="8EF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52" name="Ovale 32">
            <a:extLst>
              <a:ext uri="{FF2B5EF4-FFF2-40B4-BE49-F238E27FC236}">
                <a16:creationId xmlns:a16="http://schemas.microsoft.com/office/drawing/2014/main" id="{7C0595A2-CDC3-C340-BD7F-298C089FA5E6}"/>
              </a:ext>
            </a:extLst>
          </p:cNvPr>
          <p:cNvSpPr>
            <a:spLocks/>
          </p:cNvSpPr>
          <p:nvPr/>
        </p:nvSpPr>
        <p:spPr bwMode="auto">
          <a:xfrm>
            <a:off x="3879190" y="2831543"/>
            <a:ext cx="936625" cy="503238"/>
          </a:xfrm>
          <a:custGeom>
            <a:avLst/>
            <a:gdLst>
              <a:gd name="T0" fmla="*/ 468313 w 936629"/>
              <a:gd name="T1" fmla="*/ 0 h 503240"/>
              <a:gd name="T2" fmla="*/ 936625 w 936629"/>
              <a:gd name="T3" fmla="*/ 251619 h 503240"/>
              <a:gd name="T4" fmla="*/ 468313 w 936629"/>
              <a:gd name="T5" fmla="*/ 503238 h 503240"/>
              <a:gd name="T6" fmla="*/ 0 w 936629"/>
              <a:gd name="T7" fmla="*/ 251619 h 503240"/>
              <a:gd name="T8" fmla="*/ 137165 w 936629"/>
              <a:gd name="T9" fmla="*/ 73698 h 503240"/>
              <a:gd name="T10" fmla="*/ 137165 w 936629"/>
              <a:gd name="T11" fmla="*/ 429540 h 503240"/>
              <a:gd name="T12" fmla="*/ 799460 w 936629"/>
              <a:gd name="T13" fmla="*/ 429540 h 503240"/>
              <a:gd name="T14" fmla="*/ 799460 w 936629"/>
              <a:gd name="T15" fmla="*/ 73698 h 503240"/>
              <a:gd name="T16" fmla="*/ 17694720 60000 65536"/>
              <a:gd name="T17" fmla="*/ 0 60000 65536"/>
              <a:gd name="T18" fmla="*/ 5898240 60000 65536"/>
              <a:gd name="T19" fmla="*/ 11796480 60000 65536"/>
              <a:gd name="T20" fmla="*/ 17694720 60000 65536"/>
              <a:gd name="T21" fmla="*/ 5898240 60000 65536"/>
              <a:gd name="T22" fmla="*/ 5898240 60000 65536"/>
              <a:gd name="T23" fmla="*/ 17694720 60000 65536"/>
              <a:gd name="T24" fmla="*/ 137166 w 936629"/>
              <a:gd name="T25" fmla="*/ 73698 h 503240"/>
              <a:gd name="T26" fmla="*/ 799463 w 936629"/>
              <a:gd name="T27" fmla="*/ 429542 h 50324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36629" h="503240">
                <a:moveTo>
                  <a:pt x="0" y="251620"/>
                </a:moveTo>
                <a:lnTo>
                  <a:pt x="0" y="251620"/>
                </a:lnTo>
                <a:cubicBezTo>
                  <a:pt x="0" y="390585"/>
                  <a:pt x="209671" y="503240"/>
                  <a:pt x="468315" y="503240"/>
                </a:cubicBezTo>
                <a:cubicBezTo>
                  <a:pt x="726958" y="503240"/>
                  <a:pt x="936630" y="390585"/>
                  <a:pt x="936630" y="251620"/>
                </a:cubicBezTo>
                <a:cubicBezTo>
                  <a:pt x="936630" y="112654"/>
                  <a:pt x="726958" y="0"/>
                  <a:pt x="468315" y="0"/>
                </a:cubicBezTo>
                <a:cubicBezTo>
                  <a:pt x="209671" y="0"/>
                  <a:pt x="0" y="112654"/>
                  <a:pt x="0" y="251619"/>
                </a:cubicBezTo>
                <a:lnTo>
                  <a:pt x="0" y="251620"/>
                </a:lnTo>
                <a:close/>
              </a:path>
            </a:pathLst>
          </a:custGeom>
          <a:solidFill>
            <a:schemeClr val="tx1"/>
          </a:solidFill>
          <a:ln w="19046" cap="rnd">
            <a:solidFill>
              <a:schemeClr val="tx1"/>
            </a:solidFill>
            <a:miter lim="800000"/>
            <a:headEnd/>
            <a:tailEnd/>
          </a:ln>
        </p:spPr>
        <p:txBody>
          <a:bodyPr anchor="ctr" anchorCtr="1"/>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it-IT" altLang="it-IT" b="1" dirty="0">
                <a:solidFill>
                  <a:srgbClr val="FFFFFF"/>
                </a:solidFill>
                <a:latin typeface="+mn-lt"/>
              </a:rPr>
              <a:t>OK</a:t>
            </a:r>
          </a:p>
        </p:txBody>
      </p:sp>
      <p:sp>
        <p:nvSpPr>
          <p:cNvPr id="53" name="Freccia su 52">
            <a:extLst>
              <a:ext uri="{FF2B5EF4-FFF2-40B4-BE49-F238E27FC236}">
                <a16:creationId xmlns:a16="http://schemas.microsoft.com/office/drawing/2014/main" id="{27BF0139-6C3E-5246-ADE8-B168549D7CA1}"/>
              </a:ext>
            </a:extLst>
          </p:cNvPr>
          <p:cNvSpPr/>
          <p:nvPr/>
        </p:nvSpPr>
        <p:spPr>
          <a:xfrm rot="10800000">
            <a:off x="8073219" y="3562728"/>
            <a:ext cx="442452" cy="1245247"/>
          </a:xfrm>
          <a:prstGeom prst="upArrow">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54" name="Ovale 32">
            <a:extLst>
              <a:ext uri="{FF2B5EF4-FFF2-40B4-BE49-F238E27FC236}">
                <a16:creationId xmlns:a16="http://schemas.microsoft.com/office/drawing/2014/main" id="{89AC4657-E8E6-B241-B7D6-123C8210B3B4}"/>
              </a:ext>
            </a:extLst>
          </p:cNvPr>
          <p:cNvSpPr>
            <a:spLocks/>
          </p:cNvSpPr>
          <p:nvPr/>
        </p:nvSpPr>
        <p:spPr bwMode="auto">
          <a:xfrm>
            <a:off x="7826132" y="3809113"/>
            <a:ext cx="936625" cy="503238"/>
          </a:xfrm>
          <a:custGeom>
            <a:avLst/>
            <a:gdLst>
              <a:gd name="T0" fmla="*/ 468313 w 936629"/>
              <a:gd name="T1" fmla="*/ 0 h 503240"/>
              <a:gd name="T2" fmla="*/ 936625 w 936629"/>
              <a:gd name="T3" fmla="*/ 251619 h 503240"/>
              <a:gd name="T4" fmla="*/ 468313 w 936629"/>
              <a:gd name="T5" fmla="*/ 503238 h 503240"/>
              <a:gd name="T6" fmla="*/ 0 w 936629"/>
              <a:gd name="T7" fmla="*/ 251619 h 503240"/>
              <a:gd name="T8" fmla="*/ 137165 w 936629"/>
              <a:gd name="T9" fmla="*/ 73698 h 503240"/>
              <a:gd name="T10" fmla="*/ 137165 w 936629"/>
              <a:gd name="T11" fmla="*/ 429540 h 503240"/>
              <a:gd name="T12" fmla="*/ 799460 w 936629"/>
              <a:gd name="T13" fmla="*/ 429540 h 503240"/>
              <a:gd name="T14" fmla="*/ 799460 w 936629"/>
              <a:gd name="T15" fmla="*/ 73698 h 503240"/>
              <a:gd name="T16" fmla="*/ 17694720 60000 65536"/>
              <a:gd name="T17" fmla="*/ 0 60000 65536"/>
              <a:gd name="T18" fmla="*/ 5898240 60000 65536"/>
              <a:gd name="T19" fmla="*/ 11796480 60000 65536"/>
              <a:gd name="T20" fmla="*/ 17694720 60000 65536"/>
              <a:gd name="T21" fmla="*/ 5898240 60000 65536"/>
              <a:gd name="T22" fmla="*/ 5898240 60000 65536"/>
              <a:gd name="T23" fmla="*/ 17694720 60000 65536"/>
              <a:gd name="T24" fmla="*/ 137166 w 936629"/>
              <a:gd name="T25" fmla="*/ 73698 h 503240"/>
              <a:gd name="T26" fmla="*/ 799463 w 936629"/>
              <a:gd name="T27" fmla="*/ 429542 h 50324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36629" h="503240">
                <a:moveTo>
                  <a:pt x="0" y="251620"/>
                </a:moveTo>
                <a:lnTo>
                  <a:pt x="0" y="251620"/>
                </a:lnTo>
                <a:cubicBezTo>
                  <a:pt x="0" y="390585"/>
                  <a:pt x="209671" y="503240"/>
                  <a:pt x="468315" y="503240"/>
                </a:cubicBezTo>
                <a:cubicBezTo>
                  <a:pt x="726958" y="503240"/>
                  <a:pt x="936630" y="390585"/>
                  <a:pt x="936630" y="251620"/>
                </a:cubicBezTo>
                <a:cubicBezTo>
                  <a:pt x="936630" y="112654"/>
                  <a:pt x="726958" y="0"/>
                  <a:pt x="468315" y="0"/>
                </a:cubicBezTo>
                <a:cubicBezTo>
                  <a:pt x="209671" y="0"/>
                  <a:pt x="0" y="112654"/>
                  <a:pt x="0" y="251619"/>
                </a:cubicBezTo>
                <a:lnTo>
                  <a:pt x="0" y="251620"/>
                </a:lnTo>
                <a:close/>
              </a:path>
            </a:pathLst>
          </a:custGeom>
          <a:solidFill>
            <a:schemeClr val="tx1"/>
          </a:solidFill>
          <a:ln w="19046" cap="rnd">
            <a:solidFill>
              <a:schemeClr val="tx1"/>
            </a:solidFill>
            <a:miter lim="800000"/>
            <a:headEnd/>
            <a:tailEnd/>
          </a:ln>
        </p:spPr>
        <p:txBody>
          <a:bodyPr anchor="ctr" anchorCtr="1"/>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it-IT" altLang="it-IT" b="1" dirty="0">
                <a:solidFill>
                  <a:srgbClr val="FFFFFF"/>
                </a:solidFill>
                <a:latin typeface="+mn-lt"/>
              </a:rPr>
              <a:t>OK</a:t>
            </a:r>
          </a:p>
        </p:txBody>
      </p:sp>
    </p:spTree>
    <p:extLst>
      <p:ext uri="{BB962C8B-B14F-4D97-AF65-F5344CB8AC3E}">
        <p14:creationId xmlns:p14="http://schemas.microsoft.com/office/powerpoint/2010/main" val="1741153880"/>
      </p:ext>
    </p:extLst>
  </p:cSld>
  <p:clrMapOvr>
    <a:masterClrMapping/>
  </p:clrMapOvr>
  <p:transition spd="slow"/>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38" name="Titolo 14"/>
          <p:cNvSpPr>
            <a:spLocks/>
          </p:cNvSpPr>
          <p:nvPr>
            <p:custDataLst>
              <p:tags r:id="rId2"/>
            </p:custDataLst>
          </p:nvPr>
        </p:nvSpPr>
        <p:spPr bwMode="auto">
          <a:xfrm>
            <a:off x="4120035" y="1005393"/>
            <a:ext cx="8424862" cy="2403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lgn="l">
              <a:defRPr>
                <a:solidFill>
                  <a:schemeClr val="tx1"/>
                </a:solidFill>
                <a:latin typeface="Arial" panose="020B0604020202020204" pitchFamily="34" charset="0"/>
              </a:defRPr>
            </a:lvl1pPr>
            <a:lvl2pPr marL="742950" indent="-285750" algn="l">
              <a:defRPr>
                <a:solidFill>
                  <a:schemeClr val="tx1"/>
                </a:solidFill>
                <a:latin typeface="Arial" panose="020B0604020202020204" pitchFamily="34" charset="0"/>
              </a:defRPr>
            </a:lvl2pPr>
            <a:lvl3pPr marL="1143000" indent="-228600" algn="l">
              <a:defRPr>
                <a:solidFill>
                  <a:schemeClr val="tx1"/>
                </a:solidFill>
                <a:latin typeface="Arial" panose="020B0604020202020204" pitchFamily="34" charset="0"/>
              </a:defRPr>
            </a:lvl3pPr>
            <a:lvl4pPr marL="1600200" indent="-228600" algn="l">
              <a:defRPr>
                <a:solidFill>
                  <a:schemeClr val="tx1"/>
                </a:solidFill>
                <a:latin typeface="Arial" panose="020B0604020202020204" pitchFamily="34" charset="0"/>
              </a:defRPr>
            </a:lvl4pPr>
            <a:lvl5pPr marL="2057400" indent="-228600" algn="l">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it-IT" altLang="it-IT" b="1" dirty="0">
                <a:ea typeface="ＭＳ Ｐゴシック" panose="020B0600070205080204" pitchFamily="34" charset="-128"/>
              </a:rPr>
              <a:t>Esempi: Indicatori per l</a:t>
            </a:r>
            <a:r>
              <a:rPr lang="it-IT" altLang="en-US" b="1" dirty="0">
                <a:ea typeface="ＭＳ Ｐゴシック" panose="020B0600070205080204" pitchFamily="34" charset="-128"/>
              </a:rPr>
              <a:t>’</a:t>
            </a:r>
            <a:r>
              <a:rPr lang="it-IT" altLang="it-IT" b="1" dirty="0">
                <a:ea typeface="ＭＳ Ｐゴシック" panose="020B0600070205080204" pitchFamily="34" charset="-128"/>
              </a:rPr>
              <a:t>appropriatezza d</a:t>
            </a:r>
            <a:r>
              <a:rPr lang="it-IT" altLang="en-US" b="1" dirty="0">
                <a:ea typeface="ＭＳ Ｐゴシック" panose="020B0600070205080204" pitchFamily="34" charset="-128"/>
              </a:rPr>
              <a:t>’</a:t>
            </a:r>
            <a:r>
              <a:rPr lang="it-IT" altLang="it-IT" b="1" dirty="0">
                <a:ea typeface="ＭＳ Ｐゴシック" panose="020B0600070205080204" pitchFamily="34" charset="-128"/>
              </a:rPr>
              <a:t>uso dei farmaci ipolipemizzanti: profili prescrittivi e di </a:t>
            </a:r>
            <a:r>
              <a:rPr lang="it-IT" altLang="it-IT" b="1" dirty="0" smtClean="0">
                <a:ea typeface="ＭＳ Ｐゴシック" panose="020B0600070205080204" pitchFamily="34" charset="-128"/>
              </a:rPr>
              <a:t>utilizzazione</a:t>
            </a:r>
          </a:p>
          <a:p>
            <a:r>
              <a:rPr lang="it-IT" altLang="it-IT" b="1" dirty="0" smtClean="0">
                <a:ea typeface="ＭＳ Ｐゴシック" panose="020B0600070205080204" pitchFamily="34" charset="-128"/>
              </a:rPr>
              <a:t> </a:t>
            </a:r>
          </a:p>
          <a:p>
            <a:r>
              <a:rPr lang="it-IT" altLang="it-IT" b="1" dirty="0" smtClean="0">
                <a:ea typeface="ＭＳ Ｐゴシック" panose="020B0600070205080204" pitchFamily="34" charset="-128"/>
              </a:rPr>
              <a:t>Obiettivo: ridurre le parti </a:t>
            </a:r>
            <a:r>
              <a:rPr lang="it-IT" altLang="it-IT" b="1" dirty="0" smtClean="0">
                <a:solidFill>
                  <a:srgbClr val="FF0000"/>
                </a:solidFill>
                <a:ea typeface="ＭＳ Ｐゴシック" panose="020B0600070205080204" pitchFamily="34" charset="-128"/>
              </a:rPr>
              <a:t>rosse</a:t>
            </a:r>
            <a:r>
              <a:rPr lang="it-IT" altLang="it-IT" b="1" dirty="0" smtClean="0">
                <a:ea typeface="ＭＳ Ｐゴシック" panose="020B0600070205080204" pitchFamily="34" charset="-128"/>
              </a:rPr>
              <a:t> dei grafici</a:t>
            </a:r>
            <a:endParaRPr lang="it-IT" altLang="it-IT" b="1" dirty="0">
              <a:ea typeface="ＭＳ Ｐゴシック" panose="020B0600070205080204" pitchFamily="34" charset="-128"/>
            </a:endParaRPr>
          </a:p>
        </p:txBody>
      </p:sp>
      <p:grpSp>
        <p:nvGrpSpPr>
          <p:cNvPr id="2" name="Gruppo 1"/>
          <p:cNvGrpSpPr>
            <a:grpSpLocks/>
          </p:cNvGrpSpPr>
          <p:nvPr/>
        </p:nvGrpSpPr>
        <p:grpSpPr bwMode="auto">
          <a:xfrm>
            <a:off x="840480" y="1935913"/>
            <a:ext cx="3155950" cy="3405188"/>
            <a:chOff x="-211003" y="1152526"/>
            <a:chExt cx="3845330" cy="3405584"/>
          </a:xfrm>
        </p:grpSpPr>
        <p:graphicFrame>
          <p:nvGraphicFramePr>
            <p:cNvPr id="270340" name="Grafico 1"/>
            <p:cNvGraphicFramePr>
              <a:graphicFrameLocks/>
            </p:cNvGraphicFramePr>
            <p:nvPr/>
          </p:nvGraphicFramePr>
          <p:xfrm>
            <a:off x="-211003" y="1152526"/>
            <a:ext cx="3845330" cy="2160839"/>
          </p:xfrm>
          <a:graphic>
            <a:graphicData uri="http://schemas.openxmlformats.org/presentationml/2006/ole">
              <mc:AlternateContent xmlns:mc="http://schemas.openxmlformats.org/markup-compatibility/2006">
                <mc:Choice xmlns:v="urn:schemas-microsoft-com:vml" Requires="v">
                  <p:oleObj spid="_x0000_s1479" name="Grafico" r:id="rId7" imgW="3619613" imgH="2181194" progId="Excel.Chart.8">
                    <p:embed/>
                  </p:oleObj>
                </mc:Choice>
                <mc:Fallback>
                  <p:oleObj name="Grafico" r:id="rId7" imgW="3619613" imgH="2181194" progId="Excel.Chart.8">
                    <p:embed/>
                    <p:pic>
                      <p:nvPicPr>
                        <p:cNvPr id="270340" name="Grafico 1"/>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1003" y="1152526"/>
                          <a:ext cx="3845330" cy="216083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70341" name="Titolo 14"/>
            <p:cNvSpPr>
              <a:spLocks/>
            </p:cNvSpPr>
            <p:nvPr>
              <p:custDataLst>
                <p:tags r:id="rId5"/>
              </p:custDataLst>
            </p:nvPr>
          </p:nvSpPr>
          <p:spPr bwMode="auto">
            <a:xfrm>
              <a:off x="478408" y="4053285"/>
              <a:ext cx="2462808"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l">
                <a:defRPr>
                  <a:solidFill>
                    <a:schemeClr val="tx1"/>
                  </a:solidFill>
                  <a:latin typeface="Arial" panose="020B0604020202020204" pitchFamily="34" charset="0"/>
                </a:defRPr>
              </a:lvl1pPr>
              <a:lvl2pPr marL="742950" indent="-285750" algn="l">
                <a:defRPr>
                  <a:solidFill>
                    <a:schemeClr val="tx1"/>
                  </a:solidFill>
                  <a:latin typeface="Arial" panose="020B0604020202020204" pitchFamily="34" charset="0"/>
                </a:defRPr>
              </a:lvl2pPr>
              <a:lvl3pPr marL="1143000" indent="-228600" algn="l">
                <a:defRPr>
                  <a:solidFill>
                    <a:schemeClr val="tx1"/>
                  </a:solidFill>
                  <a:latin typeface="Arial" panose="020B0604020202020204" pitchFamily="34" charset="0"/>
                </a:defRPr>
              </a:lvl3pPr>
              <a:lvl4pPr marL="1600200" indent="-228600" algn="l">
                <a:defRPr>
                  <a:solidFill>
                    <a:schemeClr val="tx1"/>
                  </a:solidFill>
                  <a:latin typeface="Arial" panose="020B0604020202020204" pitchFamily="34" charset="0"/>
                </a:defRPr>
              </a:lvl4pPr>
              <a:lvl5pPr marL="2057400" indent="-228600" algn="l">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r>
                <a:rPr lang="it-IT" altLang="it-IT" sz="1400" b="1" dirty="0">
                  <a:ea typeface="ＭＳ Ｐゴシック" panose="020B0600070205080204" pitchFamily="34" charset="-128"/>
                </a:rPr>
                <a:t>Ridurre </a:t>
              </a:r>
              <a:r>
                <a:rPr lang="it-IT" altLang="it-IT" sz="1400" dirty="0">
                  <a:ea typeface="ＭＳ Ｐゴシック" panose="020B0600070205080204" pitchFamily="34" charset="-128"/>
                </a:rPr>
                <a:t>la percentuale di pazienti senza pregresso evento CV o diabete ( a basso rischio) trattati con </a:t>
              </a:r>
              <a:r>
                <a:rPr lang="it-IT" altLang="it-IT" sz="1400" dirty="0">
                  <a:solidFill>
                    <a:srgbClr val="FF0000"/>
                  </a:solidFill>
                  <a:ea typeface="ＭＳ Ｐゴシック" panose="020B0600070205080204" pitchFamily="34" charset="-128"/>
                </a:rPr>
                <a:t>statine</a:t>
              </a:r>
              <a:r>
                <a:rPr lang="it-IT" altLang="it-IT" sz="1400" dirty="0">
                  <a:ea typeface="ＭＳ Ｐゴシック" panose="020B0600070205080204" pitchFamily="34" charset="-128"/>
                </a:rPr>
                <a:t> </a:t>
              </a:r>
              <a:r>
                <a:rPr lang="it-IT" altLang="it-IT" sz="1400" dirty="0">
                  <a:solidFill>
                    <a:srgbClr val="FF0000"/>
                  </a:solidFill>
                  <a:ea typeface="ＭＳ Ｐゴシック" panose="020B0600070205080204" pitchFamily="34" charset="-128"/>
                </a:rPr>
                <a:t>ad alta potenza</a:t>
              </a:r>
            </a:p>
            <a:p>
              <a:pPr algn="ctr"/>
              <a:endParaRPr lang="it-IT" altLang="it-IT" sz="1400" dirty="0">
                <a:ea typeface="ＭＳ Ｐゴシック" panose="020B0600070205080204" pitchFamily="34" charset="-128"/>
              </a:endParaRPr>
            </a:p>
          </p:txBody>
        </p:sp>
      </p:grpSp>
      <p:grpSp>
        <p:nvGrpSpPr>
          <p:cNvPr id="9" name="Gruppo 8"/>
          <p:cNvGrpSpPr>
            <a:grpSpLocks/>
          </p:cNvGrpSpPr>
          <p:nvPr/>
        </p:nvGrpSpPr>
        <p:grpSpPr bwMode="auto">
          <a:xfrm>
            <a:off x="3996430" y="1844824"/>
            <a:ext cx="3968750" cy="3448050"/>
            <a:chOff x="2600496" y="1111342"/>
            <a:chExt cx="3968408" cy="3447537"/>
          </a:xfrm>
        </p:grpSpPr>
        <p:graphicFrame>
          <p:nvGraphicFramePr>
            <p:cNvPr id="270343" name="Grafico 4"/>
            <p:cNvGraphicFramePr>
              <a:graphicFrameLocks/>
            </p:cNvGraphicFramePr>
            <p:nvPr/>
          </p:nvGraphicFramePr>
          <p:xfrm>
            <a:off x="2600496" y="1111342"/>
            <a:ext cx="3968408" cy="2420577"/>
          </p:xfrm>
          <a:graphic>
            <a:graphicData uri="http://schemas.openxmlformats.org/presentationml/2006/ole">
              <mc:AlternateContent xmlns:mc="http://schemas.openxmlformats.org/markup-compatibility/2006">
                <mc:Choice xmlns:v="urn:schemas-microsoft-com:vml" Requires="v">
                  <p:oleObj spid="_x0000_s1480" name="Grafico" r:id="rId9" imgW="3724168" imgH="2276562" progId="Excel.Chart.8">
                    <p:embed/>
                  </p:oleObj>
                </mc:Choice>
                <mc:Fallback>
                  <p:oleObj name="Grafico" r:id="rId9" imgW="3724168" imgH="2276562" progId="Excel.Chart.8">
                    <p:embed/>
                    <p:pic>
                      <p:nvPicPr>
                        <p:cNvPr id="270343" name="Grafico 4"/>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600496" y="1111342"/>
                          <a:ext cx="3968408" cy="242057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70344" name="Titolo 14"/>
            <p:cNvSpPr>
              <a:spLocks/>
            </p:cNvSpPr>
            <p:nvPr>
              <p:custDataLst>
                <p:tags r:id="rId4"/>
              </p:custDataLst>
            </p:nvPr>
          </p:nvSpPr>
          <p:spPr bwMode="auto">
            <a:xfrm>
              <a:off x="3340596" y="4054054"/>
              <a:ext cx="2462808"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l">
                <a:defRPr>
                  <a:solidFill>
                    <a:schemeClr val="tx1"/>
                  </a:solidFill>
                  <a:latin typeface="Arial" panose="020B0604020202020204" pitchFamily="34" charset="0"/>
                </a:defRPr>
              </a:lvl1pPr>
              <a:lvl2pPr marL="742950" indent="-285750" algn="l">
                <a:defRPr>
                  <a:solidFill>
                    <a:schemeClr val="tx1"/>
                  </a:solidFill>
                  <a:latin typeface="Arial" panose="020B0604020202020204" pitchFamily="34" charset="0"/>
                </a:defRPr>
              </a:lvl2pPr>
              <a:lvl3pPr marL="1143000" indent="-228600" algn="l">
                <a:defRPr>
                  <a:solidFill>
                    <a:schemeClr val="tx1"/>
                  </a:solidFill>
                  <a:latin typeface="Arial" panose="020B0604020202020204" pitchFamily="34" charset="0"/>
                </a:defRPr>
              </a:lvl3pPr>
              <a:lvl4pPr marL="1600200" indent="-228600" algn="l">
                <a:defRPr>
                  <a:solidFill>
                    <a:schemeClr val="tx1"/>
                  </a:solidFill>
                  <a:latin typeface="Arial" panose="020B0604020202020204" pitchFamily="34" charset="0"/>
                </a:defRPr>
              </a:lvl4pPr>
              <a:lvl5pPr marL="2057400" indent="-228600" algn="l">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r>
                <a:rPr lang="it-IT" altLang="it-IT" sz="1400" b="1">
                  <a:ea typeface="ＭＳ Ｐゴシック" panose="020B0600070205080204" pitchFamily="34" charset="-128"/>
                </a:rPr>
                <a:t>Ridurre</a:t>
              </a:r>
              <a:r>
                <a:rPr lang="it-IT" altLang="it-IT" sz="1400">
                  <a:ea typeface="ＭＳ Ｐゴシック" panose="020B0600070205080204" pitchFamily="34" charset="-128"/>
                </a:rPr>
                <a:t> la percentuale di pazienti </a:t>
              </a:r>
              <a:r>
                <a:rPr lang="it-IT" altLang="it-IT" sz="1400">
                  <a:solidFill>
                    <a:srgbClr val="FF0000"/>
                  </a:solidFill>
                  <a:ea typeface="ＭＳ Ｐゴシック" panose="020B0600070205080204" pitchFamily="34" charset="-128"/>
                </a:rPr>
                <a:t>occasionali al trattamento</a:t>
              </a:r>
            </a:p>
          </p:txBody>
        </p:sp>
      </p:grpSp>
      <p:grpSp>
        <p:nvGrpSpPr>
          <p:cNvPr id="10" name="Gruppo 9"/>
          <p:cNvGrpSpPr>
            <a:grpSpLocks/>
          </p:cNvGrpSpPr>
          <p:nvPr/>
        </p:nvGrpSpPr>
        <p:grpSpPr bwMode="auto">
          <a:xfrm>
            <a:off x="7793058" y="1760612"/>
            <a:ext cx="2962275" cy="3328106"/>
            <a:chOff x="5530781" y="1300724"/>
            <a:chExt cx="3819854" cy="3258155"/>
          </a:xfrm>
        </p:grpSpPr>
        <p:graphicFrame>
          <p:nvGraphicFramePr>
            <p:cNvPr id="270346" name="Grafico 5"/>
            <p:cNvGraphicFramePr>
              <a:graphicFrameLocks/>
            </p:cNvGraphicFramePr>
            <p:nvPr>
              <p:extLst>
                <p:ext uri="{D42A27DB-BD31-4B8C-83A1-F6EECF244321}">
                  <p14:modId xmlns:p14="http://schemas.microsoft.com/office/powerpoint/2010/main" val="3418280392"/>
                </p:ext>
              </p:extLst>
            </p:nvPr>
          </p:nvGraphicFramePr>
          <p:xfrm>
            <a:off x="5530781" y="1300724"/>
            <a:ext cx="3819854" cy="2301672"/>
          </p:xfrm>
          <a:graphic>
            <a:graphicData uri="http://schemas.openxmlformats.org/presentationml/2006/ole">
              <mc:AlternateContent xmlns:mc="http://schemas.openxmlformats.org/markup-compatibility/2006">
                <mc:Choice xmlns:v="urn:schemas-microsoft-com:vml" Requires="v">
                  <p:oleObj spid="_x0000_s1481" name="Grafico" r:id="rId11" imgW="3619613" imgH="1752758" progId="Excel.Chart.8">
                    <p:embed/>
                  </p:oleObj>
                </mc:Choice>
                <mc:Fallback>
                  <p:oleObj name="Grafico" r:id="rId11" imgW="3619613" imgH="1752758" progId="Excel.Chart.8">
                    <p:embed/>
                    <p:pic>
                      <p:nvPicPr>
                        <p:cNvPr id="270346" name="Grafico 5"/>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530781" y="1300724"/>
                          <a:ext cx="3819854" cy="230167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70347" name="Titolo 14"/>
            <p:cNvSpPr>
              <a:spLocks/>
            </p:cNvSpPr>
            <p:nvPr>
              <p:custDataLst>
                <p:tags r:id="rId3"/>
              </p:custDataLst>
            </p:nvPr>
          </p:nvSpPr>
          <p:spPr bwMode="auto">
            <a:xfrm>
              <a:off x="6226348" y="4054054"/>
              <a:ext cx="2462808"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l">
                <a:defRPr>
                  <a:solidFill>
                    <a:schemeClr val="tx1"/>
                  </a:solidFill>
                  <a:latin typeface="Arial" panose="020B0604020202020204" pitchFamily="34" charset="0"/>
                </a:defRPr>
              </a:lvl1pPr>
              <a:lvl2pPr marL="742950" indent="-285750" algn="l">
                <a:defRPr>
                  <a:solidFill>
                    <a:schemeClr val="tx1"/>
                  </a:solidFill>
                  <a:latin typeface="Arial" panose="020B0604020202020204" pitchFamily="34" charset="0"/>
                </a:defRPr>
              </a:lvl2pPr>
              <a:lvl3pPr marL="1143000" indent="-228600" algn="l">
                <a:defRPr>
                  <a:solidFill>
                    <a:schemeClr val="tx1"/>
                  </a:solidFill>
                  <a:latin typeface="Arial" panose="020B0604020202020204" pitchFamily="34" charset="0"/>
                </a:defRPr>
              </a:lvl3pPr>
              <a:lvl4pPr marL="1600200" indent="-228600" algn="l">
                <a:defRPr>
                  <a:solidFill>
                    <a:schemeClr val="tx1"/>
                  </a:solidFill>
                  <a:latin typeface="Arial" panose="020B0604020202020204" pitchFamily="34" charset="0"/>
                </a:defRPr>
              </a:lvl4pPr>
              <a:lvl5pPr marL="2057400" indent="-228600" algn="l">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endParaRPr lang="it-IT" altLang="it-IT" sz="1400" dirty="0">
                <a:ea typeface="ＭＳ Ｐゴシック" panose="020B0600070205080204" pitchFamily="34" charset="-128"/>
              </a:endParaRPr>
            </a:p>
            <a:p>
              <a:pPr algn="ctr"/>
              <a:r>
                <a:rPr lang="it-IT" altLang="it-IT" sz="1400" b="1" dirty="0">
                  <a:ea typeface="ＭＳ Ｐゴシック" panose="020B0600070205080204" pitchFamily="34" charset="-128"/>
                </a:rPr>
                <a:t>Ridurre</a:t>
              </a:r>
              <a:r>
                <a:rPr lang="it-IT" altLang="it-IT" sz="1400" dirty="0">
                  <a:ea typeface="ＭＳ Ｐゴシック" panose="020B0600070205080204" pitchFamily="34" charset="-128"/>
                </a:rPr>
                <a:t> la percentuale di </a:t>
              </a:r>
              <a:r>
                <a:rPr lang="it-IT" altLang="it-IT" sz="1400" dirty="0">
                  <a:solidFill>
                    <a:srgbClr val="FF0000"/>
                  </a:solidFill>
                  <a:ea typeface="ＭＳ Ｐゴシック" panose="020B0600070205080204" pitchFamily="34" charset="-128"/>
                </a:rPr>
                <a:t>pazienti a basso rischio trattati</a:t>
              </a:r>
              <a:r>
                <a:rPr lang="it-IT" altLang="it-IT" sz="1400" dirty="0">
                  <a:ea typeface="ＭＳ Ｐゴシック" panose="020B0600070205080204" pitchFamily="34" charset="-128"/>
                </a:rPr>
                <a:t> con farmaci ipolipemizzanti (senza pregressi eventi CV o diabete)</a:t>
              </a:r>
            </a:p>
          </p:txBody>
        </p:sp>
      </p:grpSp>
      <p:sp>
        <p:nvSpPr>
          <p:cNvPr id="12" name="Text Box 80"/>
          <p:cNvSpPr txBox="1">
            <a:spLocks noChangeArrowheads="1"/>
          </p:cNvSpPr>
          <p:nvPr/>
        </p:nvSpPr>
        <p:spPr bwMode="auto">
          <a:xfrm>
            <a:off x="4008438" y="6308726"/>
            <a:ext cx="5040312" cy="39687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algn="l">
              <a:defRPr>
                <a:solidFill>
                  <a:schemeClr val="tx1"/>
                </a:solidFill>
                <a:latin typeface="Arial" panose="020B0604020202020204" pitchFamily="34" charset="0"/>
              </a:defRPr>
            </a:lvl1pPr>
            <a:lvl2pPr marL="742950" indent="-285750" algn="l">
              <a:defRPr>
                <a:solidFill>
                  <a:schemeClr val="tx1"/>
                </a:solidFill>
                <a:latin typeface="Arial" panose="020B0604020202020204" pitchFamily="34" charset="0"/>
              </a:defRPr>
            </a:lvl2pPr>
            <a:lvl3pPr marL="1143000" indent="-228600" algn="l">
              <a:defRPr>
                <a:solidFill>
                  <a:schemeClr val="tx1"/>
                </a:solidFill>
                <a:latin typeface="Arial" panose="020B0604020202020204" pitchFamily="34" charset="0"/>
              </a:defRPr>
            </a:lvl3pPr>
            <a:lvl4pPr marL="1600200" indent="-228600" algn="l">
              <a:defRPr>
                <a:solidFill>
                  <a:schemeClr val="tx1"/>
                </a:solidFill>
                <a:latin typeface="Arial" panose="020B0604020202020204" pitchFamily="34" charset="0"/>
              </a:defRPr>
            </a:lvl4pPr>
            <a:lvl5pPr marL="2057400" indent="-228600" algn="l">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r"/>
            <a:r>
              <a:rPr lang="it-IT" altLang="it-IT" sz="1000" i="1">
                <a:solidFill>
                  <a:schemeClr val="bg1"/>
                </a:solidFill>
                <a:ea typeface="ＭＳ Ｐゴシック" panose="020B0600070205080204" pitchFamily="34" charset="-128"/>
              </a:rPr>
              <a:t>Fonte: L</a:t>
            </a:r>
            <a:r>
              <a:rPr lang="it-IT" altLang="en-US" sz="1000" i="1">
                <a:solidFill>
                  <a:schemeClr val="bg1"/>
                </a:solidFill>
                <a:ea typeface="ＭＳ Ｐゴシック" panose="020B0600070205080204" pitchFamily="34" charset="-128"/>
              </a:rPr>
              <a:t>’</a:t>
            </a:r>
            <a:r>
              <a:rPr lang="it-IT" altLang="it-IT" sz="1000" i="1">
                <a:solidFill>
                  <a:schemeClr val="bg1"/>
                </a:solidFill>
                <a:ea typeface="ＭＳ Ｐゴシック" panose="020B0600070205080204" pitchFamily="34" charset="-128"/>
              </a:rPr>
              <a:t>uso dei Farmaci in Italia Rapporto Nazionale Anno 2013. In: Indicatori per l</a:t>
            </a:r>
            <a:r>
              <a:rPr lang="it-IT" altLang="en-US" sz="1000" i="1">
                <a:solidFill>
                  <a:schemeClr val="bg1"/>
                </a:solidFill>
                <a:ea typeface="ＭＳ Ｐゴシック" panose="020B0600070205080204" pitchFamily="34" charset="-128"/>
              </a:rPr>
              <a:t>’</a:t>
            </a:r>
            <a:r>
              <a:rPr lang="it-IT" altLang="it-IT" sz="1000" i="1">
                <a:solidFill>
                  <a:schemeClr val="bg1"/>
                </a:solidFill>
                <a:ea typeface="ＭＳ Ｐゴシック" panose="020B0600070205080204" pitchFamily="34" charset="-128"/>
              </a:rPr>
              <a:t>appropriatezza d</a:t>
            </a:r>
            <a:r>
              <a:rPr lang="it-IT" altLang="en-US" sz="1000" i="1">
                <a:solidFill>
                  <a:schemeClr val="bg1"/>
                </a:solidFill>
                <a:ea typeface="ＭＳ Ｐゴシック" panose="020B0600070205080204" pitchFamily="34" charset="-128"/>
              </a:rPr>
              <a:t>’</a:t>
            </a:r>
            <a:r>
              <a:rPr lang="it-IT" altLang="it-IT" sz="1000" i="1">
                <a:solidFill>
                  <a:schemeClr val="bg1"/>
                </a:solidFill>
                <a:ea typeface="ＭＳ Ｐゴシック" panose="020B0600070205080204" pitchFamily="34" charset="-128"/>
              </a:rPr>
              <a:t>uso dei farmaci ipolipemizzanti: profili prescrittivi e di utilizzazione.</a:t>
            </a:r>
          </a:p>
        </p:txBody>
      </p:sp>
    </p:spTree>
    <p:extLst>
      <p:ext uri="{BB962C8B-B14F-4D97-AF65-F5344CB8AC3E}">
        <p14:creationId xmlns:p14="http://schemas.microsoft.com/office/powerpoint/2010/main" val="1103910495"/>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1" presetClass="entr" presetSubtype="1"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heel(1)">
                                      <p:cBhvr>
                                        <p:cTn id="7" dur="1000"/>
                                        <p:tgtEl>
                                          <p:spTgt spid="2"/>
                                        </p:tgtEl>
                                      </p:cBhvr>
                                    </p:animEffect>
                                  </p:childTnLst>
                                </p:cTn>
                              </p:par>
                            </p:childTnLst>
                          </p:cTn>
                        </p:par>
                        <p:par>
                          <p:cTn id="8" fill="hold" nodeType="afterGroup">
                            <p:stCondLst>
                              <p:cond delay="1000"/>
                            </p:stCondLst>
                            <p:childTnLst>
                              <p:par>
                                <p:cTn id="9" presetID="21" presetClass="entr" presetSubtype="1" fill="hold"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wheel(1)">
                                      <p:cBhvr>
                                        <p:cTn id="11" dur="1000"/>
                                        <p:tgtEl>
                                          <p:spTgt spid="9"/>
                                        </p:tgtEl>
                                      </p:cBhvr>
                                    </p:animEffect>
                                  </p:childTnLst>
                                </p:cTn>
                              </p:par>
                            </p:childTnLst>
                          </p:cTn>
                        </p:par>
                        <p:par>
                          <p:cTn id="12" fill="hold" nodeType="afterGroup">
                            <p:stCondLst>
                              <p:cond delay="2000"/>
                            </p:stCondLst>
                            <p:childTnLst>
                              <p:par>
                                <p:cTn id="13" presetID="21" presetClass="entr" presetSubtype="1" fill="hold"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wheel(1)">
                                      <p:cBhvr>
                                        <p:cTn id="15"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4434" name="Titolo 14"/>
          <p:cNvSpPr>
            <a:spLocks/>
          </p:cNvSpPr>
          <p:nvPr>
            <p:custDataLst>
              <p:tags r:id="rId2"/>
            </p:custDataLst>
          </p:nvPr>
        </p:nvSpPr>
        <p:spPr bwMode="auto">
          <a:xfrm>
            <a:off x="3772022" y="715848"/>
            <a:ext cx="8439150"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lgn="l">
              <a:defRPr>
                <a:solidFill>
                  <a:schemeClr val="tx1"/>
                </a:solidFill>
                <a:latin typeface="Arial" panose="020B0604020202020204" pitchFamily="34" charset="0"/>
              </a:defRPr>
            </a:lvl1pPr>
            <a:lvl2pPr marL="742950" indent="-285750" algn="l">
              <a:defRPr>
                <a:solidFill>
                  <a:schemeClr val="tx1"/>
                </a:solidFill>
                <a:latin typeface="Arial" panose="020B0604020202020204" pitchFamily="34" charset="0"/>
              </a:defRPr>
            </a:lvl2pPr>
            <a:lvl3pPr marL="1143000" indent="-228600" algn="l">
              <a:defRPr>
                <a:solidFill>
                  <a:schemeClr val="tx1"/>
                </a:solidFill>
                <a:latin typeface="Arial" panose="020B0604020202020204" pitchFamily="34" charset="0"/>
              </a:defRPr>
            </a:lvl3pPr>
            <a:lvl4pPr marL="1600200" indent="-228600" algn="l">
              <a:defRPr>
                <a:solidFill>
                  <a:schemeClr val="tx1"/>
                </a:solidFill>
                <a:latin typeface="Arial" panose="020B0604020202020204" pitchFamily="34" charset="0"/>
              </a:defRPr>
            </a:lvl4pPr>
            <a:lvl5pPr marL="2057400" indent="-228600" algn="l">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it-IT" altLang="it-IT" b="1" dirty="0">
                <a:ea typeface="ＭＳ Ｐゴシック" panose="020B0600070205080204" pitchFamily="34" charset="-128"/>
              </a:rPr>
              <a:t>Indicatori per l</a:t>
            </a:r>
            <a:r>
              <a:rPr lang="it-IT" altLang="en-US" b="1" dirty="0">
                <a:ea typeface="ＭＳ Ｐゴシック" panose="020B0600070205080204" pitchFamily="34" charset="-128"/>
              </a:rPr>
              <a:t>’</a:t>
            </a:r>
            <a:r>
              <a:rPr lang="it-IT" altLang="it-IT" b="1" dirty="0">
                <a:ea typeface="ＭＳ Ｐゴシック" panose="020B0600070205080204" pitchFamily="34" charset="-128"/>
              </a:rPr>
              <a:t>appropriatezza d</a:t>
            </a:r>
            <a:r>
              <a:rPr lang="it-IT" altLang="en-US" b="1" dirty="0">
                <a:ea typeface="ＭＳ Ｐゴシック" panose="020B0600070205080204" pitchFamily="34" charset="-128"/>
              </a:rPr>
              <a:t>’</a:t>
            </a:r>
            <a:r>
              <a:rPr lang="it-IT" altLang="it-IT" b="1" dirty="0">
                <a:ea typeface="ＭＳ Ｐゴシック" panose="020B0600070205080204" pitchFamily="34" charset="-128"/>
              </a:rPr>
              <a:t>uso dei farmaci ipolipemizzanti: profili prescrittivi e di utilizzazione</a:t>
            </a:r>
          </a:p>
        </p:txBody>
      </p:sp>
      <p:grpSp>
        <p:nvGrpSpPr>
          <p:cNvPr id="2" name="Gruppo 1"/>
          <p:cNvGrpSpPr>
            <a:grpSpLocks/>
          </p:cNvGrpSpPr>
          <p:nvPr/>
        </p:nvGrpSpPr>
        <p:grpSpPr bwMode="auto">
          <a:xfrm>
            <a:off x="1573213" y="1074738"/>
            <a:ext cx="3067050" cy="2741612"/>
            <a:chOff x="-225366" y="1082713"/>
            <a:chExt cx="4416965" cy="3475397"/>
          </a:xfrm>
        </p:grpSpPr>
        <p:graphicFrame>
          <p:nvGraphicFramePr>
            <p:cNvPr id="274436" name="Grafico 1"/>
            <p:cNvGraphicFramePr>
              <a:graphicFrameLocks/>
            </p:cNvGraphicFramePr>
            <p:nvPr/>
          </p:nvGraphicFramePr>
          <p:xfrm>
            <a:off x="-225366" y="1082713"/>
            <a:ext cx="4416965" cy="2373481"/>
          </p:xfrm>
          <a:graphic>
            <a:graphicData uri="http://schemas.openxmlformats.org/presentationml/2006/ole">
              <mc:AlternateContent xmlns:mc="http://schemas.openxmlformats.org/markup-compatibility/2006">
                <mc:Choice xmlns:v="urn:schemas-microsoft-com:vml" Requires="v">
                  <p:oleObj spid="_x0000_s2503" name="Grafico" r:id="rId7" imgW="2724207" imgH="1552629" progId="Excel.Chart.8">
                    <p:embed/>
                  </p:oleObj>
                </mc:Choice>
                <mc:Fallback>
                  <p:oleObj name="Grafico" r:id="rId7" imgW="2724207" imgH="1552629" progId="Excel.Chart.8">
                    <p:embed/>
                    <p:pic>
                      <p:nvPicPr>
                        <p:cNvPr id="274436" name="Grafico 1"/>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25366" y="1082713"/>
                          <a:ext cx="4416965" cy="237348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74437" name="Titolo 14"/>
            <p:cNvSpPr>
              <a:spLocks/>
            </p:cNvSpPr>
            <p:nvPr>
              <p:custDataLst>
                <p:tags r:id="rId5"/>
              </p:custDataLst>
            </p:nvPr>
          </p:nvSpPr>
          <p:spPr bwMode="auto">
            <a:xfrm>
              <a:off x="478408" y="4053285"/>
              <a:ext cx="2462808"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l">
                <a:defRPr>
                  <a:solidFill>
                    <a:schemeClr val="tx1"/>
                  </a:solidFill>
                  <a:latin typeface="Arial" panose="020B0604020202020204" pitchFamily="34" charset="0"/>
                </a:defRPr>
              </a:lvl1pPr>
              <a:lvl2pPr marL="742950" indent="-285750" algn="l">
                <a:defRPr>
                  <a:solidFill>
                    <a:schemeClr val="tx1"/>
                  </a:solidFill>
                  <a:latin typeface="Arial" panose="020B0604020202020204" pitchFamily="34" charset="0"/>
                </a:defRPr>
              </a:lvl2pPr>
              <a:lvl3pPr marL="1143000" indent="-228600" algn="l">
                <a:defRPr>
                  <a:solidFill>
                    <a:schemeClr val="tx1"/>
                  </a:solidFill>
                  <a:latin typeface="Arial" panose="020B0604020202020204" pitchFamily="34" charset="0"/>
                </a:defRPr>
              </a:lvl3pPr>
              <a:lvl4pPr marL="1600200" indent="-228600" algn="l">
                <a:defRPr>
                  <a:solidFill>
                    <a:schemeClr val="tx1"/>
                  </a:solidFill>
                  <a:latin typeface="Arial" panose="020B0604020202020204" pitchFamily="34" charset="0"/>
                </a:defRPr>
              </a:lvl4pPr>
              <a:lvl5pPr marL="2057400" indent="-228600" algn="l">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endParaRPr lang="it-IT" altLang="it-IT" sz="1600" dirty="0">
                <a:solidFill>
                  <a:schemeClr val="bg1"/>
                </a:solidFill>
                <a:ea typeface="ＭＳ Ｐゴシック" panose="020B0600070205080204" pitchFamily="34" charset="-128"/>
              </a:endParaRPr>
            </a:p>
            <a:p>
              <a:pPr algn="ctr"/>
              <a:r>
                <a:rPr lang="it-IT" altLang="it-IT" sz="1600" b="1" dirty="0">
                  <a:ea typeface="ＭＳ Ｐゴシック" panose="020B0600070205080204" pitchFamily="34" charset="-128"/>
                </a:rPr>
                <a:t>Incrementare</a:t>
              </a:r>
              <a:r>
                <a:rPr lang="it-IT" altLang="it-IT" sz="1600" dirty="0">
                  <a:ea typeface="ＭＳ Ｐゴシック" panose="020B0600070205080204" pitchFamily="34" charset="-128"/>
                </a:rPr>
                <a:t> la  percentuale di pazienti con pregresso evento CV o diabete </a:t>
              </a:r>
              <a:r>
                <a:rPr lang="it-IT" altLang="it-IT" sz="1600" dirty="0">
                  <a:solidFill>
                    <a:srgbClr val="00CC00"/>
                  </a:solidFill>
                  <a:ea typeface="ＭＳ Ｐゴシック" panose="020B0600070205080204" pitchFamily="34" charset="-128"/>
                </a:rPr>
                <a:t>trattati</a:t>
              </a:r>
              <a:r>
                <a:rPr lang="it-IT" altLang="it-IT" sz="1600" dirty="0">
                  <a:ea typeface="ＭＳ Ｐゴシック" panose="020B0600070205080204" pitchFamily="34" charset="-128"/>
                </a:rPr>
                <a:t> con farmaci ipolipemizzanti</a:t>
              </a:r>
            </a:p>
          </p:txBody>
        </p:sp>
      </p:grpSp>
      <p:grpSp>
        <p:nvGrpSpPr>
          <p:cNvPr id="9" name="Gruppo 8"/>
          <p:cNvGrpSpPr>
            <a:grpSpLocks/>
          </p:cNvGrpSpPr>
          <p:nvPr/>
        </p:nvGrpSpPr>
        <p:grpSpPr bwMode="auto">
          <a:xfrm>
            <a:off x="4608514" y="1125538"/>
            <a:ext cx="2967037" cy="3382962"/>
            <a:chOff x="2656054" y="1086916"/>
            <a:chExt cx="3838244" cy="3471963"/>
          </a:xfrm>
        </p:grpSpPr>
        <p:graphicFrame>
          <p:nvGraphicFramePr>
            <p:cNvPr id="274439" name="Grafico 4"/>
            <p:cNvGraphicFramePr>
              <a:graphicFrameLocks/>
            </p:cNvGraphicFramePr>
            <p:nvPr/>
          </p:nvGraphicFramePr>
          <p:xfrm>
            <a:off x="2590319" y="1034795"/>
            <a:ext cx="3969714" cy="2891596"/>
          </p:xfrm>
          <a:graphic>
            <a:graphicData uri="http://schemas.openxmlformats.org/presentationml/2006/ole">
              <mc:AlternateContent xmlns:mc="http://schemas.openxmlformats.org/markup-compatibility/2006">
                <mc:Choice xmlns:v="urn:schemas-microsoft-com:vml" Requires="v">
                  <p:oleObj spid="_x0000_s2504" name="Grafico" r:id="rId9" imgW="2790774" imgH="1914596" progId="Excel.Chart.8">
                    <p:embed/>
                  </p:oleObj>
                </mc:Choice>
                <mc:Fallback>
                  <p:oleObj name="Grafico" r:id="rId9" imgW="2790774" imgH="1914596" progId="Excel.Chart.8">
                    <p:embed/>
                    <p:pic>
                      <p:nvPicPr>
                        <p:cNvPr id="274439" name="Grafico 4"/>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590319" y="1034795"/>
                          <a:ext cx="3969714" cy="289159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74440" name="Titolo 14"/>
            <p:cNvSpPr>
              <a:spLocks/>
            </p:cNvSpPr>
            <p:nvPr>
              <p:custDataLst>
                <p:tags r:id="rId4"/>
              </p:custDataLst>
            </p:nvPr>
          </p:nvSpPr>
          <p:spPr bwMode="auto">
            <a:xfrm>
              <a:off x="3340595" y="4054054"/>
              <a:ext cx="2462808"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l">
                <a:defRPr>
                  <a:solidFill>
                    <a:schemeClr val="tx1"/>
                  </a:solidFill>
                  <a:latin typeface="Arial" panose="020B0604020202020204" pitchFamily="34" charset="0"/>
                </a:defRPr>
              </a:lvl1pPr>
              <a:lvl2pPr marL="742950" indent="-285750" algn="l">
                <a:defRPr>
                  <a:solidFill>
                    <a:schemeClr val="tx1"/>
                  </a:solidFill>
                  <a:latin typeface="Arial" panose="020B0604020202020204" pitchFamily="34" charset="0"/>
                </a:defRPr>
              </a:lvl2pPr>
              <a:lvl3pPr marL="1143000" indent="-228600" algn="l">
                <a:defRPr>
                  <a:solidFill>
                    <a:schemeClr val="tx1"/>
                  </a:solidFill>
                  <a:latin typeface="Arial" panose="020B0604020202020204" pitchFamily="34" charset="0"/>
                </a:defRPr>
              </a:lvl3pPr>
              <a:lvl4pPr marL="1600200" indent="-228600" algn="l">
                <a:defRPr>
                  <a:solidFill>
                    <a:schemeClr val="tx1"/>
                  </a:solidFill>
                  <a:latin typeface="Arial" panose="020B0604020202020204" pitchFamily="34" charset="0"/>
                </a:defRPr>
              </a:lvl4pPr>
              <a:lvl5pPr marL="2057400" indent="-228600" algn="l">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endParaRPr lang="it-IT" altLang="it-IT" sz="1400">
                <a:solidFill>
                  <a:schemeClr val="bg1"/>
                </a:solidFill>
                <a:ea typeface="ＭＳ Ｐゴシック" panose="020B0600070205080204" pitchFamily="34" charset="-128"/>
              </a:endParaRPr>
            </a:p>
            <a:p>
              <a:pPr algn="ctr"/>
              <a:r>
                <a:rPr lang="it-IT" altLang="it-IT" sz="1600" b="1">
                  <a:ea typeface="ＭＳ Ｐゴシック" panose="020B0600070205080204" pitchFamily="34" charset="-128"/>
                </a:rPr>
                <a:t>Incrementare</a:t>
              </a:r>
              <a:r>
                <a:rPr lang="it-IT" altLang="it-IT" sz="1600">
                  <a:ea typeface="ＭＳ Ｐゴシック" panose="020B0600070205080204" pitchFamily="34" charset="-128"/>
                </a:rPr>
                <a:t> la % di pazienti con pregresso evento CV o diabete trattati con </a:t>
              </a:r>
              <a:r>
                <a:rPr lang="it-IT" altLang="it-IT" sz="1600">
                  <a:solidFill>
                    <a:srgbClr val="00CC00"/>
                  </a:solidFill>
                  <a:ea typeface="ＭＳ Ｐゴシック" panose="020B0600070205080204" pitchFamily="34" charset="-128"/>
                </a:rPr>
                <a:t>statine ad alta potenza</a:t>
              </a:r>
            </a:p>
          </p:txBody>
        </p:sp>
      </p:grpSp>
      <p:grpSp>
        <p:nvGrpSpPr>
          <p:cNvPr id="10" name="Gruppo 9"/>
          <p:cNvGrpSpPr>
            <a:grpSpLocks/>
          </p:cNvGrpSpPr>
          <p:nvPr/>
        </p:nvGrpSpPr>
        <p:grpSpPr bwMode="auto">
          <a:xfrm>
            <a:off x="7542213" y="1074739"/>
            <a:ext cx="2874962" cy="3413125"/>
            <a:chOff x="5509418" y="1085997"/>
            <a:chExt cx="3622692" cy="3472882"/>
          </a:xfrm>
        </p:grpSpPr>
        <p:graphicFrame>
          <p:nvGraphicFramePr>
            <p:cNvPr id="274442" name="Grafico 5"/>
            <p:cNvGraphicFramePr>
              <a:graphicFrameLocks/>
            </p:cNvGraphicFramePr>
            <p:nvPr/>
          </p:nvGraphicFramePr>
          <p:xfrm>
            <a:off x="5509418" y="1085997"/>
            <a:ext cx="3622692" cy="1851127"/>
          </p:xfrm>
          <a:graphic>
            <a:graphicData uri="http://schemas.openxmlformats.org/presentationml/2006/ole">
              <mc:AlternateContent xmlns:mc="http://schemas.openxmlformats.org/markup-compatibility/2006">
                <mc:Choice xmlns:v="urn:schemas-microsoft-com:vml" Requires="v">
                  <p:oleObj spid="_x0000_s2505" name="Grafico" r:id="rId11" imgW="2809948" imgH="1533483" progId="Excel.Chart.8">
                    <p:embed/>
                  </p:oleObj>
                </mc:Choice>
                <mc:Fallback>
                  <p:oleObj name="Grafico" r:id="rId11" imgW="2809948" imgH="1533483" progId="Excel.Chart.8">
                    <p:embed/>
                    <p:pic>
                      <p:nvPicPr>
                        <p:cNvPr id="274442" name="Grafico 5"/>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509418" y="1085997"/>
                          <a:ext cx="3622692" cy="185112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74443" name="Titolo 14"/>
            <p:cNvSpPr>
              <a:spLocks/>
            </p:cNvSpPr>
            <p:nvPr>
              <p:custDataLst>
                <p:tags r:id="rId3"/>
              </p:custDataLst>
            </p:nvPr>
          </p:nvSpPr>
          <p:spPr bwMode="auto">
            <a:xfrm>
              <a:off x="6226348" y="4054054"/>
              <a:ext cx="2462808"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l">
                <a:defRPr>
                  <a:solidFill>
                    <a:schemeClr val="tx1"/>
                  </a:solidFill>
                  <a:latin typeface="Arial" panose="020B0604020202020204" pitchFamily="34" charset="0"/>
                </a:defRPr>
              </a:lvl1pPr>
              <a:lvl2pPr marL="742950" indent="-285750" algn="l">
                <a:defRPr>
                  <a:solidFill>
                    <a:schemeClr val="tx1"/>
                  </a:solidFill>
                  <a:latin typeface="Arial" panose="020B0604020202020204" pitchFamily="34" charset="0"/>
                </a:defRPr>
              </a:lvl2pPr>
              <a:lvl3pPr marL="1143000" indent="-228600" algn="l">
                <a:defRPr>
                  <a:solidFill>
                    <a:schemeClr val="tx1"/>
                  </a:solidFill>
                  <a:latin typeface="Arial" panose="020B0604020202020204" pitchFamily="34" charset="0"/>
                </a:defRPr>
              </a:lvl3pPr>
              <a:lvl4pPr marL="1600200" indent="-228600" algn="l">
                <a:defRPr>
                  <a:solidFill>
                    <a:schemeClr val="tx1"/>
                  </a:solidFill>
                  <a:latin typeface="Arial" panose="020B0604020202020204" pitchFamily="34" charset="0"/>
                </a:defRPr>
              </a:lvl4pPr>
              <a:lvl5pPr marL="2057400" indent="-228600" algn="l">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endParaRPr lang="it-IT" altLang="it-IT" sz="1400">
                <a:ea typeface="ＭＳ Ｐゴシック" panose="020B0600070205080204" pitchFamily="34" charset="-128"/>
              </a:endParaRPr>
            </a:p>
            <a:p>
              <a:pPr algn="ctr"/>
              <a:r>
                <a:rPr lang="it-IT" altLang="it-IT" sz="1600" b="1">
                  <a:ea typeface="ＭＳ Ｐゴシック" panose="020B0600070205080204" pitchFamily="34" charset="-128"/>
                </a:rPr>
                <a:t>Incrementare</a:t>
              </a:r>
              <a:r>
                <a:rPr lang="it-IT" altLang="it-IT" sz="1600">
                  <a:ea typeface="ＭＳ Ｐゴシック" panose="020B0600070205080204" pitchFamily="34" charset="-128"/>
                </a:rPr>
                <a:t> la % di pazienti </a:t>
              </a:r>
              <a:r>
                <a:rPr lang="it-IT" altLang="it-IT" sz="1600">
                  <a:solidFill>
                    <a:srgbClr val="00CC00"/>
                  </a:solidFill>
                  <a:ea typeface="ＭＳ Ｐゴシック" panose="020B0600070205080204" pitchFamily="34" charset="-128"/>
                </a:rPr>
                <a:t>aderenti</a:t>
              </a:r>
              <a:r>
                <a:rPr lang="it-IT" altLang="it-IT" sz="1600">
                  <a:ea typeface="ＭＳ Ｐゴシック" panose="020B0600070205080204" pitchFamily="34" charset="-128"/>
                </a:rPr>
                <a:t> al trattamento</a:t>
              </a:r>
            </a:p>
          </p:txBody>
        </p:sp>
      </p:grpSp>
      <p:sp>
        <p:nvSpPr>
          <p:cNvPr id="3" name="CasellaDiTesto 2"/>
          <p:cNvSpPr txBox="1"/>
          <p:nvPr/>
        </p:nvSpPr>
        <p:spPr>
          <a:xfrm>
            <a:off x="4049486" y="5818909"/>
            <a:ext cx="6828311" cy="369332"/>
          </a:xfrm>
          <a:prstGeom prst="rect">
            <a:avLst/>
          </a:prstGeom>
          <a:noFill/>
        </p:spPr>
        <p:txBody>
          <a:bodyPr wrap="square" rtlCol="0">
            <a:spAutoFit/>
          </a:bodyPr>
          <a:lstStyle/>
          <a:p>
            <a:r>
              <a:rPr lang="it-IT" b="1" dirty="0" smtClean="0"/>
              <a:t>Obiettivo: incrementare le parti </a:t>
            </a:r>
            <a:r>
              <a:rPr lang="it-IT" b="1" dirty="0" smtClean="0">
                <a:solidFill>
                  <a:srgbClr val="00FA00"/>
                </a:solidFill>
              </a:rPr>
              <a:t>verdi</a:t>
            </a:r>
            <a:r>
              <a:rPr lang="it-IT" b="1" dirty="0" smtClean="0"/>
              <a:t> del grafico</a:t>
            </a:r>
            <a:endParaRPr lang="it-IT" b="1" dirty="0"/>
          </a:p>
        </p:txBody>
      </p:sp>
    </p:spTree>
    <p:extLst>
      <p:ext uri="{BB962C8B-B14F-4D97-AF65-F5344CB8AC3E}">
        <p14:creationId xmlns:p14="http://schemas.microsoft.com/office/powerpoint/2010/main" val="637627947"/>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1" presetClass="entr" presetSubtype="1"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heel(1)">
                                      <p:cBhvr>
                                        <p:cTn id="7" dur="1000"/>
                                        <p:tgtEl>
                                          <p:spTgt spid="2"/>
                                        </p:tgtEl>
                                      </p:cBhvr>
                                    </p:animEffect>
                                  </p:childTnLst>
                                </p:cTn>
                              </p:par>
                            </p:childTnLst>
                          </p:cTn>
                        </p:par>
                        <p:par>
                          <p:cTn id="8" fill="hold" nodeType="afterGroup">
                            <p:stCondLst>
                              <p:cond delay="1000"/>
                            </p:stCondLst>
                            <p:childTnLst>
                              <p:par>
                                <p:cTn id="9" presetID="21" presetClass="entr" presetSubtype="1" fill="hold"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wheel(1)">
                                      <p:cBhvr>
                                        <p:cTn id="11" dur="1000"/>
                                        <p:tgtEl>
                                          <p:spTgt spid="9"/>
                                        </p:tgtEl>
                                      </p:cBhvr>
                                    </p:animEffect>
                                  </p:childTnLst>
                                </p:cTn>
                              </p:par>
                            </p:childTnLst>
                          </p:cTn>
                        </p:par>
                        <p:par>
                          <p:cTn id="12" fill="hold" nodeType="afterGroup">
                            <p:stCondLst>
                              <p:cond delay="2000"/>
                            </p:stCondLst>
                            <p:childTnLst>
                              <p:par>
                                <p:cTn id="13" presetID="21" presetClass="entr" presetSubtype="1" fill="hold"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wheel(1)">
                                      <p:cBhvr>
                                        <p:cTn id="15"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6850" name="Text Box 3"/>
          <p:cNvSpPr txBox="1">
            <a:spLocks noChangeArrowheads="1"/>
          </p:cNvSpPr>
          <p:nvPr/>
        </p:nvSpPr>
        <p:spPr bwMode="auto">
          <a:xfrm>
            <a:off x="1469572" y="1137557"/>
            <a:ext cx="10079718" cy="47459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lnSpc>
                <a:spcPct val="120000"/>
              </a:lnSpc>
              <a:spcBef>
                <a:spcPct val="0"/>
              </a:spcBef>
              <a:buFontTx/>
              <a:buNone/>
            </a:pPr>
            <a:r>
              <a:rPr lang="it-IT" sz="3600" dirty="0">
                <a:solidFill>
                  <a:srgbClr val="FF0000"/>
                </a:solidFill>
              </a:rPr>
              <a:t>NUOVI FARMACI: COSA CI ASPETTIAMO?</a:t>
            </a:r>
          </a:p>
          <a:p>
            <a:pPr eaLnBrk="1" hangingPunct="1">
              <a:lnSpc>
                <a:spcPct val="120000"/>
              </a:lnSpc>
              <a:spcBef>
                <a:spcPct val="0"/>
              </a:spcBef>
              <a:buFontTx/>
              <a:buNone/>
            </a:pPr>
            <a:endParaRPr lang="it-IT" sz="3600" dirty="0">
              <a:solidFill>
                <a:srgbClr val="0000FF"/>
              </a:solidFill>
            </a:endParaRPr>
          </a:p>
          <a:p>
            <a:pPr eaLnBrk="1" hangingPunct="1">
              <a:lnSpc>
                <a:spcPct val="120000"/>
              </a:lnSpc>
              <a:spcBef>
                <a:spcPct val="0"/>
              </a:spcBef>
            </a:pPr>
            <a:r>
              <a:rPr lang="it-IT" sz="3600" dirty="0">
                <a:solidFill>
                  <a:srgbClr val="009900"/>
                </a:solidFill>
              </a:rPr>
              <a:t> MIGLIOR </a:t>
            </a:r>
            <a:r>
              <a:rPr lang="it-IT" sz="3600" dirty="0" smtClean="0">
                <a:solidFill>
                  <a:srgbClr val="009900"/>
                </a:solidFill>
              </a:rPr>
              <a:t>EFFICACIA e SICUREZZA  </a:t>
            </a:r>
            <a:endParaRPr lang="it-IT" sz="3600" dirty="0">
              <a:solidFill>
                <a:srgbClr val="009900"/>
              </a:solidFill>
            </a:endParaRPr>
          </a:p>
          <a:p>
            <a:pPr eaLnBrk="1" hangingPunct="1">
              <a:lnSpc>
                <a:spcPct val="120000"/>
              </a:lnSpc>
              <a:spcBef>
                <a:spcPct val="0"/>
              </a:spcBef>
            </a:pPr>
            <a:r>
              <a:rPr lang="it-IT" sz="3600" dirty="0">
                <a:solidFill>
                  <a:srgbClr val="009900"/>
                </a:solidFill>
              </a:rPr>
              <a:t> </a:t>
            </a:r>
            <a:r>
              <a:rPr lang="it-IT" sz="3600" dirty="0" smtClean="0">
                <a:solidFill>
                  <a:srgbClr val="009900"/>
                </a:solidFill>
              </a:rPr>
              <a:t> PARI o MINORE </a:t>
            </a:r>
            <a:r>
              <a:rPr lang="it-IT" sz="3600" dirty="0">
                <a:solidFill>
                  <a:srgbClr val="009900"/>
                </a:solidFill>
              </a:rPr>
              <a:t>PREZZO a parità di efficacia</a:t>
            </a:r>
            <a:r>
              <a:rPr lang="it-IT" sz="3600" dirty="0">
                <a:solidFill>
                  <a:srgbClr val="0000FF"/>
                </a:solidFill>
              </a:rPr>
              <a:t> </a:t>
            </a:r>
          </a:p>
          <a:p>
            <a:pPr algn="ctr" eaLnBrk="1" hangingPunct="1">
              <a:lnSpc>
                <a:spcPct val="120000"/>
              </a:lnSpc>
              <a:spcBef>
                <a:spcPct val="0"/>
              </a:spcBef>
              <a:buFontTx/>
              <a:buNone/>
            </a:pPr>
            <a:endParaRPr lang="it-IT" sz="3600" dirty="0">
              <a:solidFill>
                <a:srgbClr val="0000FF"/>
              </a:solidFill>
            </a:endParaRPr>
          </a:p>
          <a:p>
            <a:pPr eaLnBrk="1" hangingPunct="1">
              <a:lnSpc>
                <a:spcPct val="120000"/>
              </a:lnSpc>
              <a:spcBef>
                <a:spcPct val="0"/>
              </a:spcBef>
              <a:buFontTx/>
              <a:buNone/>
            </a:pPr>
            <a:r>
              <a:rPr lang="it-IT" sz="3600" dirty="0" smtClean="0">
                <a:solidFill>
                  <a:srgbClr val="0000FF"/>
                </a:solidFill>
              </a:rPr>
              <a:t>E invece…</a:t>
            </a:r>
            <a:endParaRPr lang="it-IT" sz="3600" dirty="0">
              <a:solidFill>
                <a:srgbClr val="0000FF"/>
              </a:solidFill>
            </a:endParaRPr>
          </a:p>
          <a:p>
            <a:pPr eaLnBrk="1" hangingPunct="1">
              <a:lnSpc>
                <a:spcPct val="120000"/>
              </a:lnSpc>
              <a:spcBef>
                <a:spcPct val="0"/>
              </a:spcBef>
              <a:buFontTx/>
              <a:buNone/>
            </a:pPr>
            <a:endParaRPr lang="it-IT" sz="3600" dirty="0">
              <a:solidFill>
                <a:srgbClr val="0000FF"/>
              </a:solidFill>
            </a:endParaRPr>
          </a:p>
        </p:txBody>
      </p:sp>
    </p:spTree>
    <p:extLst>
      <p:ext uri="{BB962C8B-B14F-4D97-AF65-F5344CB8AC3E}">
        <p14:creationId xmlns:p14="http://schemas.microsoft.com/office/powerpoint/2010/main" val="15688150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10" name="Line 15">
            <a:extLst>
              <a:ext uri="{FF2B5EF4-FFF2-40B4-BE49-F238E27FC236}">
                <a16:creationId xmlns:a16="http://schemas.microsoft.com/office/drawing/2014/main" id="{CB83CD2E-C8B0-224B-A0D4-85C069292BC0}"/>
              </a:ext>
            </a:extLst>
          </p:cNvPr>
          <p:cNvSpPr>
            <a:spLocks/>
          </p:cNvSpPr>
          <p:nvPr/>
        </p:nvSpPr>
        <p:spPr bwMode="auto">
          <a:xfrm>
            <a:off x="5384800" y="963613"/>
            <a:ext cx="4967288" cy="0"/>
          </a:xfrm>
          <a:custGeom>
            <a:avLst/>
            <a:gdLst>
              <a:gd name="T0" fmla="*/ 2483645 w 4967285"/>
              <a:gd name="T1" fmla="*/ 4967288 w 4967285"/>
              <a:gd name="T2" fmla="*/ 2483645 w 4967285"/>
              <a:gd name="T3" fmla="*/ 0 w 4967285"/>
              <a:gd name="T4" fmla="*/ 0 w 4967285"/>
              <a:gd name="T5" fmla="*/ 4967288 w 4967285"/>
              <a:gd name="T6" fmla="*/ 17694720 60000 65536"/>
              <a:gd name="T7" fmla="*/ 0 60000 65536"/>
              <a:gd name="T8" fmla="*/ 5898240 60000 65536"/>
              <a:gd name="T9" fmla="*/ 11796480 60000 65536"/>
              <a:gd name="T10" fmla="*/ 5898240 60000 65536"/>
              <a:gd name="T11" fmla="*/ 17694720 60000 65536"/>
              <a:gd name="T12" fmla="*/ 0 w 4967285"/>
              <a:gd name="T13" fmla="*/ 4967285 w 4967285"/>
            </a:gdLst>
            <a:ahLst/>
            <a:cxnLst>
              <a:cxn ang="T6">
                <a:pos x="T0" y="0"/>
              </a:cxn>
              <a:cxn ang="T7">
                <a:pos x="T1" y="0"/>
              </a:cxn>
              <a:cxn ang="T8">
                <a:pos x="T2" y="0"/>
              </a:cxn>
              <a:cxn ang="T9">
                <a:pos x="T3" y="0"/>
              </a:cxn>
              <a:cxn ang="T10">
                <a:pos x="T4" y="0"/>
              </a:cxn>
              <a:cxn ang="T11">
                <a:pos x="T5" y="0"/>
              </a:cxn>
            </a:cxnLst>
            <a:rect l="T12" t="0" r="T13" b="0"/>
            <a:pathLst>
              <a:path w="4967285">
                <a:moveTo>
                  <a:pt x="0" y="0"/>
                </a:moveTo>
                <a:lnTo>
                  <a:pt x="4967285" y="1"/>
                </a:lnTo>
              </a:path>
            </a:pathLst>
          </a:custGeom>
          <a:noFill/>
          <a:ln w="9528"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grpSp>
        <p:nvGrpSpPr>
          <p:cNvPr id="12" name="Gruppo 11">
            <a:extLst>
              <a:ext uri="{FF2B5EF4-FFF2-40B4-BE49-F238E27FC236}">
                <a16:creationId xmlns:a16="http://schemas.microsoft.com/office/drawing/2014/main" id="{67FB2F83-A1E2-8B40-9615-51280D32413C}"/>
              </a:ext>
            </a:extLst>
          </p:cNvPr>
          <p:cNvGrpSpPr/>
          <p:nvPr/>
        </p:nvGrpSpPr>
        <p:grpSpPr>
          <a:xfrm>
            <a:off x="4085555" y="2526953"/>
            <a:ext cx="4786644" cy="3625851"/>
            <a:chOff x="3846045" y="1659375"/>
            <a:chExt cx="4786644" cy="3625851"/>
          </a:xfrm>
        </p:grpSpPr>
        <p:sp>
          <p:nvSpPr>
            <p:cNvPr id="128001" name="Line 4">
              <a:extLst>
                <a:ext uri="{FF2B5EF4-FFF2-40B4-BE49-F238E27FC236}">
                  <a16:creationId xmlns:a16="http://schemas.microsoft.com/office/drawing/2014/main" id="{5033F9DE-8DEE-D843-9247-58232E6DC3D1}"/>
                </a:ext>
              </a:extLst>
            </p:cNvPr>
            <p:cNvSpPr>
              <a:spLocks/>
            </p:cNvSpPr>
            <p:nvPr/>
          </p:nvSpPr>
          <p:spPr bwMode="auto">
            <a:xfrm>
              <a:off x="3846045" y="3405807"/>
              <a:ext cx="4032250" cy="0"/>
            </a:xfrm>
            <a:custGeom>
              <a:avLst/>
              <a:gdLst>
                <a:gd name="T0" fmla="*/ 2016126 w 4032247"/>
                <a:gd name="T1" fmla="*/ 4032250 w 4032247"/>
                <a:gd name="T2" fmla="*/ 2016126 w 4032247"/>
                <a:gd name="T3" fmla="*/ 0 w 4032247"/>
                <a:gd name="T4" fmla="*/ 0 w 4032247"/>
                <a:gd name="T5" fmla="*/ 4032250 w 4032247"/>
                <a:gd name="T6" fmla="*/ 17694720 60000 65536"/>
                <a:gd name="T7" fmla="*/ 0 60000 65536"/>
                <a:gd name="T8" fmla="*/ 5898240 60000 65536"/>
                <a:gd name="T9" fmla="*/ 11796480 60000 65536"/>
                <a:gd name="T10" fmla="*/ 5898240 60000 65536"/>
                <a:gd name="T11" fmla="*/ 17694720 60000 65536"/>
                <a:gd name="T12" fmla="*/ 0 w 4032247"/>
                <a:gd name="T13" fmla="*/ 4032247 w 4032247"/>
              </a:gdLst>
              <a:ahLst/>
              <a:cxnLst>
                <a:cxn ang="T6">
                  <a:pos x="T0" y="0"/>
                </a:cxn>
                <a:cxn ang="T7">
                  <a:pos x="T1" y="0"/>
                </a:cxn>
                <a:cxn ang="T8">
                  <a:pos x="T2" y="0"/>
                </a:cxn>
                <a:cxn ang="T9">
                  <a:pos x="T3" y="0"/>
                </a:cxn>
                <a:cxn ang="T10">
                  <a:pos x="T4" y="0"/>
                </a:cxn>
                <a:cxn ang="T11">
                  <a:pos x="T5" y="0"/>
                </a:cxn>
              </a:cxnLst>
              <a:rect l="T12" t="0" r="T13" b="0"/>
              <a:pathLst>
                <a:path w="4032247">
                  <a:moveTo>
                    <a:pt x="0" y="0"/>
                  </a:moveTo>
                  <a:lnTo>
                    <a:pt x="4032247" y="1"/>
                  </a:lnTo>
                </a:path>
              </a:pathLst>
            </a:custGeom>
            <a:noFill/>
            <a:ln w="38103" cap="flat">
              <a:solidFill>
                <a:schemeClr val="tx1"/>
              </a:solidFill>
              <a:prstDash val="solid"/>
              <a:round/>
              <a:headEnd/>
              <a:tailEnd type="arrow" w="med" len="med"/>
            </a:ln>
            <a:extLst>
              <a:ext uri="{909E8E84-426E-40DD-AFC4-6F175D3DCCD1}">
                <a14:hiddenFill xmlns:a14="http://schemas.microsoft.com/office/drawing/2010/main">
                  <a:solidFill>
                    <a:srgbClr val="FFFFFF"/>
                  </a:solidFill>
                </a14:hiddenFill>
              </a:ext>
            </a:extLst>
          </p:spPr>
          <p:txBody>
            <a:bodyPr/>
            <a:lstStyle/>
            <a:p>
              <a:endParaRPr lang="it-IT"/>
            </a:p>
          </p:txBody>
        </p:sp>
        <p:grpSp>
          <p:nvGrpSpPr>
            <p:cNvPr id="11" name="Gruppo 10">
              <a:extLst>
                <a:ext uri="{FF2B5EF4-FFF2-40B4-BE49-F238E27FC236}">
                  <a16:creationId xmlns:a16="http://schemas.microsoft.com/office/drawing/2014/main" id="{F01ED238-9746-1E4A-8F56-06F1AFA47ACB}"/>
                </a:ext>
              </a:extLst>
            </p:cNvPr>
            <p:cNvGrpSpPr/>
            <p:nvPr/>
          </p:nvGrpSpPr>
          <p:grpSpPr>
            <a:xfrm>
              <a:off x="4470101" y="1659375"/>
              <a:ext cx="4162588" cy="3625851"/>
              <a:chOff x="4470101" y="1659375"/>
              <a:chExt cx="4162588" cy="3625851"/>
            </a:xfrm>
          </p:grpSpPr>
          <p:sp>
            <p:nvSpPr>
              <p:cNvPr id="128002" name="Line 5">
                <a:extLst>
                  <a:ext uri="{FF2B5EF4-FFF2-40B4-BE49-F238E27FC236}">
                    <a16:creationId xmlns:a16="http://schemas.microsoft.com/office/drawing/2014/main" id="{B9829E2C-95EB-2E47-8F95-B34D4BA72C1A}"/>
                  </a:ext>
                </a:extLst>
              </p:cNvPr>
              <p:cNvSpPr>
                <a:spLocks/>
              </p:cNvSpPr>
              <p:nvPr/>
            </p:nvSpPr>
            <p:spPr bwMode="auto">
              <a:xfrm flipV="1">
                <a:off x="5987751" y="2043551"/>
                <a:ext cx="0" cy="3241675"/>
              </a:xfrm>
              <a:custGeom>
                <a:avLst/>
                <a:gdLst>
                  <a:gd name="T0" fmla="*/ 0 h 3241676"/>
                  <a:gd name="T1" fmla="*/ 1620838 h 3241676"/>
                  <a:gd name="T2" fmla="*/ 3241675 h 3241676"/>
                  <a:gd name="T3" fmla="*/ 1620838 h 3241676"/>
                  <a:gd name="T4" fmla="*/ 0 h 3241676"/>
                  <a:gd name="T5" fmla="*/ 3241675 h 3241676"/>
                  <a:gd name="T6" fmla="*/ 17694720 60000 65536"/>
                  <a:gd name="T7" fmla="*/ 0 60000 65536"/>
                  <a:gd name="T8" fmla="*/ 5898240 60000 65536"/>
                  <a:gd name="T9" fmla="*/ 11796480 60000 65536"/>
                  <a:gd name="T10" fmla="*/ 5898240 60000 65536"/>
                  <a:gd name="T11" fmla="*/ 17694720 60000 65536"/>
                  <a:gd name="T12" fmla="*/ 0 h 3241676"/>
                  <a:gd name="T13" fmla="*/ 3241676 h 3241676"/>
                </a:gdLst>
                <a:ahLst/>
                <a:cxnLst>
                  <a:cxn ang="T6">
                    <a:pos x="0" y="T0"/>
                  </a:cxn>
                  <a:cxn ang="T7">
                    <a:pos x="0" y="T1"/>
                  </a:cxn>
                  <a:cxn ang="T8">
                    <a:pos x="0" y="T2"/>
                  </a:cxn>
                  <a:cxn ang="T9">
                    <a:pos x="0" y="T3"/>
                  </a:cxn>
                  <a:cxn ang="T10">
                    <a:pos x="0" y="T4"/>
                  </a:cxn>
                  <a:cxn ang="T11">
                    <a:pos x="0" y="T5"/>
                  </a:cxn>
                </a:cxnLst>
                <a:rect l="0" t="T12" r="0" b="T13"/>
                <a:pathLst>
                  <a:path h="3241676">
                    <a:moveTo>
                      <a:pt x="0" y="0"/>
                    </a:moveTo>
                    <a:lnTo>
                      <a:pt x="1" y="3241676"/>
                    </a:lnTo>
                  </a:path>
                </a:pathLst>
              </a:custGeom>
              <a:noFill/>
              <a:ln w="38100" cap="flat">
                <a:solidFill>
                  <a:schemeClr val="tx1"/>
                </a:solidFill>
                <a:prstDash val="solid"/>
                <a:round/>
                <a:headEnd/>
                <a:tailEnd type="arrow" w="med" len="med"/>
              </a:ln>
              <a:extLst>
                <a:ext uri="{909E8E84-426E-40DD-AFC4-6F175D3DCCD1}">
                  <a14:hiddenFill xmlns:a14="http://schemas.microsoft.com/office/drawing/2010/main">
                    <a:solidFill>
                      <a:srgbClr val="FFFFFF"/>
                    </a:solidFill>
                  </a14:hiddenFill>
                </a:ext>
              </a:extLst>
            </p:spPr>
            <p:txBody>
              <a:bodyPr/>
              <a:lstStyle/>
              <a:p>
                <a:endParaRPr lang="it-IT" sz="2000"/>
              </a:p>
            </p:txBody>
          </p:sp>
          <p:sp>
            <p:nvSpPr>
              <p:cNvPr id="128003" name="Text Box 6">
                <a:extLst>
                  <a:ext uri="{FF2B5EF4-FFF2-40B4-BE49-F238E27FC236}">
                    <a16:creationId xmlns:a16="http://schemas.microsoft.com/office/drawing/2014/main" id="{DCE2EA94-0F5B-274F-816D-A6B686DC3FF5}"/>
                  </a:ext>
                </a:extLst>
              </p:cNvPr>
              <p:cNvSpPr txBox="1">
                <a:spLocks noChangeArrowheads="1"/>
              </p:cNvSpPr>
              <p:nvPr/>
            </p:nvSpPr>
            <p:spPr bwMode="auto">
              <a:xfrm>
                <a:off x="7986358" y="3189848"/>
                <a:ext cx="646331"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it-IT" altLang="it-IT" sz="2000" b="1" dirty="0" err="1"/>
                  <a:t>Cost</a:t>
                </a:r>
                <a:endParaRPr lang="it-IT" altLang="it-IT" sz="2000" b="1" dirty="0"/>
              </a:p>
            </p:txBody>
          </p:sp>
          <p:sp>
            <p:nvSpPr>
              <p:cNvPr id="128004" name="Text Box 7">
                <a:extLst>
                  <a:ext uri="{FF2B5EF4-FFF2-40B4-BE49-F238E27FC236}">
                    <a16:creationId xmlns:a16="http://schemas.microsoft.com/office/drawing/2014/main" id="{F012B504-D2E2-CA4E-A575-8C2E1A7A2660}"/>
                  </a:ext>
                </a:extLst>
              </p:cNvPr>
              <p:cNvSpPr txBox="1">
                <a:spLocks noChangeArrowheads="1"/>
              </p:cNvSpPr>
              <p:nvPr/>
            </p:nvSpPr>
            <p:spPr bwMode="auto">
              <a:xfrm>
                <a:off x="5530551" y="1659375"/>
                <a:ext cx="990656"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it-IT" altLang="it-IT" sz="2000" b="1"/>
                  <a:t>Efficacy</a:t>
                </a:r>
              </a:p>
            </p:txBody>
          </p:sp>
          <p:sp>
            <p:nvSpPr>
              <p:cNvPr id="128005" name="Text Box 8">
                <a:extLst>
                  <a:ext uri="{FF2B5EF4-FFF2-40B4-BE49-F238E27FC236}">
                    <a16:creationId xmlns:a16="http://schemas.microsoft.com/office/drawing/2014/main" id="{0EFB4657-70D8-4D42-A621-AE6C43E1FA70}"/>
                  </a:ext>
                </a:extLst>
              </p:cNvPr>
              <p:cNvSpPr txBox="1">
                <a:spLocks noChangeArrowheads="1"/>
              </p:cNvSpPr>
              <p:nvPr/>
            </p:nvSpPr>
            <p:spPr bwMode="auto">
              <a:xfrm>
                <a:off x="4470101" y="2445187"/>
                <a:ext cx="1156279"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it-IT" altLang="it-IT" sz="2000"/>
                  <a:t>&gt; Efficacy</a:t>
                </a:r>
              </a:p>
              <a:p>
                <a:pPr eaLnBrk="1" hangingPunct="1"/>
                <a:r>
                  <a:rPr lang="it-IT" altLang="it-IT" sz="2000"/>
                  <a:t>&lt; Cost</a:t>
                </a:r>
              </a:p>
            </p:txBody>
          </p:sp>
          <p:sp>
            <p:nvSpPr>
              <p:cNvPr id="128006" name="Text Box 9">
                <a:extLst>
                  <a:ext uri="{FF2B5EF4-FFF2-40B4-BE49-F238E27FC236}">
                    <a16:creationId xmlns:a16="http://schemas.microsoft.com/office/drawing/2014/main" id="{487829C2-0035-CB42-80CB-A69977F0912C}"/>
                  </a:ext>
                </a:extLst>
              </p:cNvPr>
              <p:cNvSpPr txBox="1">
                <a:spLocks noChangeArrowheads="1"/>
              </p:cNvSpPr>
              <p:nvPr/>
            </p:nvSpPr>
            <p:spPr bwMode="auto">
              <a:xfrm>
                <a:off x="6403676" y="2397562"/>
                <a:ext cx="1156279"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it-IT" altLang="it-IT" sz="2000"/>
                  <a:t>&gt; Efficacy</a:t>
                </a:r>
              </a:p>
              <a:p>
                <a:pPr eaLnBrk="1" hangingPunct="1"/>
                <a:r>
                  <a:rPr lang="it-IT" altLang="it-IT" sz="2000"/>
                  <a:t>&gt; Cost</a:t>
                </a:r>
              </a:p>
            </p:txBody>
          </p:sp>
          <p:sp>
            <p:nvSpPr>
              <p:cNvPr id="128007" name="Text Box 10">
                <a:extLst>
                  <a:ext uri="{FF2B5EF4-FFF2-40B4-BE49-F238E27FC236}">
                    <a16:creationId xmlns:a16="http://schemas.microsoft.com/office/drawing/2014/main" id="{273463E5-C955-B34D-9564-FEE9EC0C5466}"/>
                  </a:ext>
                </a:extLst>
              </p:cNvPr>
              <p:cNvSpPr txBox="1">
                <a:spLocks noChangeArrowheads="1"/>
              </p:cNvSpPr>
              <p:nvPr/>
            </p:nvSpPr>
            <p:spPr bwMode="auto">
              <a:xfrm>
                <a:off x="4470101" y="3824725"/>
                <a:ext cx="1156279"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it-IT" altLang="it-IT" sz="2000"/>
                  <a:t>&lt; Efficacy</a:t>
                </a:r>
              </a:p>
              <a:p>
                <a:pPr eaLnBrk="1" hangingPunct="1"/>
                <a:r>
                  <a:rPr lang="it-IT" altLang="it-IT" sz="2000"/>
                  <a:t>&lt; Cost</a:t>
                </a:r>
              </a:p>
            </p:txBody>
          </p:sp>
          <p:sp>
            <p:nvSpPr>
              <p:cNvPr id="128008" name="Text Box 11">
                <a:extLst>
                  <a:ext uri="{FF2B5EF4-FFF2-40B4-BE49-F238E27FC236}">
                    <a16:creationId xmlns:a16="http://schemas.microsoft.com/office/drawing/2014/main" id="{74CD31DF-C656-5548-ACC8-D3A73728FF72}"/>
                  </a:ext>
                </a:extLst>
              </p:cNvPr>
              <p:cNvSpPr txBox="1">
                <a:spLocks noChangeArrowheads="1"/>
              </p:cNvSpPr>
              <p:nvPr/>
            </p:nvSpPr>
            <p:spPr bwMode="auto">
              <a:xfrm>
                <a:off x="6403676" y="3867587"/>
                <a:ext cx="1156279"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it-IT" altLang="it-IT" sz="2000"/>
                  <a:t>&lt; Efficacy</a:t>
                </a:r>
              </a:p>
              <a:p>
                <a:pPr eaLnBrk="1" hangingPunct="1"/>
                <a:r>
                  <a:rPr lang="it-IT" altLang="it-IT" sz="2000"/>
                  <a:t>&gt; Cost</a:t>
                </a:r>
              </a:p>
            </p:txBody>
          </p:sp>
        </p:grpSp>
      </p:grpSp>
      <p:sp>
        <p:nvSpPr>
          <p:cNvPr id="128011" name="CasellaDiTesto 11">
            <a:extLst>
              <a:ext uri="{FF2B5EF4-FFF2-40B4-BE49-F238E27FC236}">
                <a16:creationId xmlns:a16="http://schemas.microsoft.com/office/drawing/2014/main" id="{81DA728B-04C0-AC4A-9F95-82121F49EF34}"/>
              </a:ext>
            </a:extLst>
          </p:cNvPr>
          <p:cNvSpPr txBox="1">
            <a:spLocks noChangeArrowheads="1"/>
          </p:cNvSpPr>
          <p:nvPr/>
        </p:nvSpPr>
        <p:spPr bwMode="auto">
          <a:xfrm>
            <a:off x="1070605" y="3134096"/>
            <a:ext cx="2079258" cy="923330"/>
          </a:xfrm>
          <a:prstGeom prst="rect">
            <a:avLst/>
          </a:prstGeom>
          <a:solidFill>
            <a:srgbClr val="00FA00"/>
          </a:solidFill>
          <a:ln>
            <a:noFill/>
          </a:ln>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it-IT" altLang="it-IT" b="1" dirty="0"/>
              <a:t>Sempre accettabile: intervento dominante</a:t>
            </a:r>
          </a:p>
        </p:txBody>
      </p:sp>
      <p:sp>
        <p:nvSpPr>
          <p:cNvPr id="128012" name="CasellaDiTesto 12">
            <a:extLst>
              <a:ext uri="{FF2B5EF4-FFF2-40B4-BE49-F238E27FC236}">
                <a16:creationId xmlns:a16="http://schemas.microsoft.com/office/drawing/2014/main" id="{318310A7-92FD-BB4B-B637-FFA5B3C4CA65}"/>
              </a:ext>
            </a:extLst>
          </p:cNvPr>
          <p:cNvSpPr txBox="1">
            <a:spLocks noChangeArrowheads="1"/>
          </p:cNvSpPr>
          <p:nvPr/>
        </p:nvSpPr>
        <p:spPr bwMode="auto">
          <a:xfrm>
            <a:off x="9073037" y="2879392"/>
            <a:ext cx="2362197" cy="1200329"/>
          </a:xfrm>
          <a:prstGeom prst="rect">
            <a:avLst/>
          </a:prstGeom>
          <a:solidFill>
            <a:srgbClr val="FF9300"/>
          </a:solidFill>
          <a:ln>
            <a:noFill/>
          </a:ln>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it-IT" altLang="it-IT" b="1" dirty="0"/>
              <a:t>Accettabile solo se l’aumentata </a:t>
            </a:r>
          </a:p>
          <a:p>
            <a:pPr algn="ctr" eaLnBrk="1" hangingPunct="1"/>
            <a:r>
              <a:rPr lang="it-IT" altLang="it-IT" b="1" dirty="0"/>
              <a:t>efficacia giustifica i costi </a:t>
            </a:r>
          </a:p>
        </p:txBody>
      </p:sp>
      <p:sp>
        <p:nvSpPr>
          <p:cNvPr id="128013" name="CasellaDiTesto 13">
            <a:extLst>
              <a:ext uri="{FF2B5EF4-FFF2-40B4-BE49-F238E27FC236}">
                <a16:creationId xmlns:a16="http://schemas.microsoft.com/office/drawing/2014/main" id="{9B994517-6F88-8B44-80A9-0EC568E71526}"/>
              </a:ext>
            </a:extLst>
          </p:cNvPr>
          <p:cNvSpPr txBox="1">
            <a:spLocks noChangeArrowheads="1"/>
          </p:cNvSpPr>
          <p:nvPr/>
        </p:nvSpPr>
        <p:spPr bwMode="auto">
          <a:xfrm>
            <a:off x="9239647" y="4860506"/>
            <a:ext cx="2028976" cy="646331"/>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it-IT" altLang="it-IT" b="1" dirty="0"/>
              <a:t>Sempre inaccettabile </a:t>
            </a:r>
          </a:p>
        </p:txBody>
      </p:sp>
      <p:sp>
        <p:nvSpPr>
          <p:cNvPr id="128014" name="CasellaDiTesto 14">
            <a:extLst>
              <a:ext uri="{FF2B5EF4-FFF2-40B4-BE49-F238E27FC236}">
                <a16:creationId xmlns:a16="http://schemas.microsoft.com/office/drawing/2014/main" id="{56BC6F3C-1A38-6448-9D8B-C7C984428F26}"/>
              </a:ext>
            </a:extLst>
          </p:cNvPr>
          <p:cNvSpPr txBox="1">
            <a:spLocks noChangeArrowheads="1"/>
          </p:cNvSpPr>
          <p:nvPr/>
        </p:nvSpPr>
        <p:spPr bwMode="auto">
          <a:xfrm>
            <a:off x="744651" y="4735165"/>
            <a:ext cx="2382859" cy="923330"/>
          </a:xfrm>
          <a:prstGeom prst="rect">
            <a:avLst/>
          </a:prstGeom>
          <a:solidFill>
            <a:srgbClr val="FF9300"/>
          </a:solidFill>
          <a:ln>
            <a:noFill/>
          </a:ln>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it-IT" altLang="it-IT" b="1" dirty="0"/>
              <a:t>Accettabile solo se la ridotta </a:t>
            </a:r>
          </a:p>
          <a:p>
            <a:pPr algn="ctr" eaLnBrk="1" hangingPunct="1"/>
            <a:r>
              <a:rPr lang="it-IT" altLang="it-IT" b="1" dirty="0"/>
              <a:t>efficacia è trascurabile</a:t>
            </a:r>
          </a:p>
        </p:txBody>
      </p:sp>
      <p:sp>
        <p:nvSpPr>
          <p:cNvPr id="16" name="Freccia giù 9">
            <a:extLst>
              <a:ext uri="{FF2B5EF4-FFF2-40B4-BE49-F238E27FC236}">
                <a16:creationId xmlns:a16="http://schemas.microsoft.com/office/drawing/2014/main" id="{5FDE146A-6C9B-4F48-A9E5-9FEAD3106A00}"/>
              </a:ext>
            </a:extLst>
          </p:cNvPr>
          <p:cNvSpPr>
            <a:spLocks/>
          </p:cNvSpPr>
          <p:nvPr/>
        </p:nvSpPr>
        <p:spPr bwMode="auto">
          <a:xfrm rot="5400013">
            <a:off x="8320433" y="4585077"/>
            <a:ext cx="457200" cy="1008062"/>
          </a:xfrm>
          <a:custGeom>
            <a:avLst/>
            <a:gdLst>
              <a:gd name="T0" fmla="*/ 30663306 w 21600"/>
              <a:gd name="T1" fmla="*/ 0 h 21600"/>
              <a:gd name="T2" fmla="*/ 61326612 w 21600"/>
              <a:gd name="T3" fmla="*/ 23522893 h 21600"/>
              <a:gd name="T4" fmla="*/ 30663306 w 21600"/>
              <a:gd name="T5" fmla="*/ 47045740 h 21600"/>
              <a:gd name="T6" fmla="*/ 0 w 21600"/>
              <a:gd name="T7" fmla="*/ 23522893 h 21600"/>
              <a:gd name="T8" fmla="*/ 0 w 21600"/>
              <a:gd name="T9" fmla="*/ 23522893 h 21600"/>
              <a:gd name="T10" fmla="*/ 61326612 w 21600"/>
              <a:gd name="T11" fmla="*/ 23522893 h 21600"/>
              <a:gd name="T12" fmla="*/ 17694720 60000 65536"/>
              <a:gd name="T13" fmla="*/ 0 60000 65536"/>
              <a:gd name="T14" fmla="*/ 5898240 60000 65536"/>
              <a:gd name="T15" fmla="*/ 11796480 60000 65536"/>
              <a:gd name="T16" fmla="*/ 11796480 60000 65536"/>
              <a:gd name="T17" fmla="*/ 0 60000 65536"/>
              <a:gd name="T18" fmla="*/ 5400 w 21600"/>
              <a:gd name="T19" fmla="*/ 0 h 21600"/>
              <a:gd name="T20" fmla="*/ 16200 w 21600"/>
              <a:gd name="T21" fmla="*/ 162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5400" y="0"/>
                </a:moveTo>
                <a:lnTo>
                  <a:pt x="5400" y="10800"/>
                </a:lnTo>
                <a:lnTo>
                  <a:pt x="0" y="10800"/>
                </a:lnTo>
                <a:lnTo>
                  <a:pt x="10800" y="21600"/>
                </a:lnTo>
                <a:lnTo>
                  <a:pt x="21600" y="10800"/>
                </a:lnTo>
                <a:lnTo>
                  <a:pt x="16200" y="10800"/>
                </a:lnTo>
                <a:lnTo>
                  <a:pt x="16200" y="0"/>
                </a:lnTo>
                <a:lnTo>
                  <a:pt x="5400" y="0"/>
                </a:lnTo>
                <a:close/>
              </a:path>
            </a:pathLst>
          </a:custGeom>
          <a:solidFill>
            <a:srgbClr val="FF0000"/>
          </a:solidFill>
          <a:ln w="9528" cap="flat">
            <a:solidFill>
              <a:srgbClr val="FFFFFF"/>
            </a:solidFill>
            <a:prstDash val="solid"/>
            <a:miter lim="800000"/>
            <a:headEnd/>
            <a:tailEnd/>
          </a:ln>
          <a:effectLst>
            <a:outerShdw dist="22997" dir="5400000" algn="tl" rotWithShape="0">
              <a:srgbClr val="808080">
                <a:alpha val="34998"/>
              </a:srgbClr>
            </a:outerShdw>
          </a:effectLst>
        </p:spPr>
        <p:txBody>
          <a:bodyPr anchor="ctr"/>
          <a:lstStyle/>
          <a:p>
            <a:endParaRPr lang="it-IT"/>
          </a:p>
        </p:txBody>
      </p:sp>
      <p:sp>
        <p:nvSpPr>
          <p:cNvPr id="17" name="Freccia giù 9">
            <a:extLst>
              <a:ext uri="{FF2B5EF4-FFF2-40B4-BE49-F238E27FC236}">
                <a16:creationId xmlns:a16="http://schemas.microsoft.com/office/drawing/2014/main" id="{AEE35013-A439-FA48-B4D0-0DD9E8092345}"/>
              </a:ext>
            </a:extLst>
          </p:cNvPr>
          <p:cNvSpPr>
            <a:spLocks/>
          </p:cNvSpPr>
          <p:nvPr/>
        </p:nvSpPr>
        <p:spPr bwMode="auto">
          <a:xfrm rot="16200004">
            <a:off x="3582094" y="3018805"/>
            <a:ext cx="457200" cy="1008063"/>
          </a:xfrm>
          <a:custGeom>
            <a:avLst/>
            <a:gdLst>
              <a:gd name="T0" fmla="*/ 30663333 w 21600"/>
              <a:gd name="T1" fmla="*/ 0 h 21600"/>
              <a:gd name="T2" fmla="*/ 61326666 w 21600"/>
              <a:gd name="T3" fmla="*/ 23522917 h 21600"/>
              <a:gd name="T4" fmla="*/ 30663333 w 21600"/>
              <a:gd name="T5" fmla="*/ 47045787 h 21600"/>
              <a:gd name="T6" fmla="*/ 0 w 21600"/>
              <a:gd name="T7" fmla="*/ 23522917 h 21600"/>
              <a:gd name="T8" fmla="*/ 0 w 21600"/>
              <a:gd name="T9" fmla="*/ 23522917 h 21600"/>
              <a:gd name="T10" fmla="*/ 61326666 w 21600"/>
              <a:gd name="T11" fmla="*/ 23522917 h 21600"/>
              <a:gd name="T12" fmla="*/ 17694720 60000 65536"/>
              <a:gd name="T13" fmla="*/ 0 60000 65536"/>
              <a:gd name="T14" fmla="*/ 5898240 60000 65536"/>
              <a:gd name="T15" fmla="*/ 11796480 60000 65536"/>
              <a:gd name="T16" fmla="*/ 11796480 60000 65536"/>
              <a:gd name="T17" fmla="*/ 0 60000 65536"/>
              <a:gd name="T18" fmla="*/ 5400 w 21600"/>
              <a:gd name="T19" fmla="*/ 0 h 21600"/>
              <a:gd name="T20" fmla="*/ 16200 w 21600"/>
              <a:gd name="T21" fmla="*/ 162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5400" y="0"/>
                </a:moveTo>
                <a:lnTo>
                  <a:pt x="5400" y="10800"/>
                </a:lnTo>
                <a:lnTo>
                  <a:pt x="0" y="10800"/>
                </a:lnTo>
                <a:lnTo>
                  <a:pt x="10800" y="21600"/>
                </a:lnTo>
                <a:lnTo>
                  <a:pt x="21600" y="10800"/>
                </a:lnTo>
                <a:lnTo>
                  <a:pt x="16200" y="10800"/>
                </a:lnTo>
                <a:lnTo>
                  <a:pt x="16200" y="0"/>
                </a:lnTo>
                <a:lnTo>
                  <a:pt x="5400" y="0"/>
                </a:lnTo>
                <a:close/>
              </a:path>
            </a:pathLst>
          </a:custGeom>
          <a:solidFill>
            <a:srgbClr val="00FA00">
              <a:alpha val="74901"/>
            </a:srgbClr>
          </a:solidFill>
          <a:ln w="9528" cap="flat">
            <a:solidFill>
              <a:srgbClr val="FFFFFF"/>
            </a:solidFill>
            <a:prstDash val="solid"/>
            <a:miter lim="800000"/>
            <a:headEnd/>
            <a:tailEnd/>
          </a:ln>
          <a:effectLst>
            <a:outerShdw dist="22997" dir="5400000" algn="tl" rotWithShape="0">
              <a:srgbClr val="808080">
                <a:alpha val="34998"/>
              </a:srgbClr>
            </a:outerShdw>
          </a:effectLst>
        </p:spPr>
        <p:txBody>
          <a:bodyPr anchor="ctr"/>
          <a:lstStyle/>
          <a:p>
            <a:endParaRPr lang="it-IT"/>
          </a:p>
        </p:txBody>
      </p:sp>
      <p:sp>
        <p:nvSpPr>
          <p:cNvPr id="18" name="Freccia giù 9">
            <a:extLst>
              <a:ext uri="{FF2B5EF4-FFF2-40B4-BE49-F238E27FC236}">
                <a16:creationId xmlns:a16="http://schemas.microsoft.com/office/drawing/2014/main" id="{156159B4-72C7-7D42-B21A-CB745DA2FF65}"/>
              </a:ext>
            </a:extLst>
          </p:cNvPr>
          <p:cNvSpPr>
            <a:spLocks/>
          </p:cNvSpPr>
          <p:nvPr/>
        </p:nvSpPr>
        <p:spPr bwMode="auto">
          <a:xfrm rot="5400013">
            <a:off x="8182811" y="3018009"/>
            <a:ext cx="458788" cy="1008063"/>
          </a:xfrm>
          <a:custGeom>
            <a:avLst/>
            <a:gdLst>
              <a:gd name="T0" fmla="*/ 30663306 w 21600"/>
              <a:gd name="T1" fmla="*/ 0 h 21600"/>
              <a:gd name="T2" fmla="*/ 61326612 w 21600"/>
              <a:gd name="T3" fmla="*/ 23522917 h 21600"/>
              <a:gd name="T4" fmla="*/ 30663306 w 21600"/>
              <a:gd name="T5" fmla="*/ 47045787 h 21600"/>
              <a:gd name="T6" fmla="*/ 0 w 21600"/>
              <a:gd name="T7" fmla="*/ 23522917 h 21600"/>
              <a:gd name="T8" fmla="*/ 0 w 21600"/>
              <a:gd name="T9" fmla="*/ 23522917 h 21600"/>
              <a:gd name="T10" fmla="*/ 61326612 w 21600"/>
              <a:gd name="T11" fmla="*/ 23522917 h 21600"/>
              <a:gd name="T12" fmla="*/ 17694720 60000 65536"/>
              <a:gd name="T13" fmla="*/ 0 60000 65536"/>
              <a:gd name="T14" fmla="*/ 5898240 60000 65536"/>
              <a:gd name="T15" fmla="*/ 11796480 60000 65536"/>
              <a:gd name="T16" fmla="*/ 11796480 60000 65536"/>
              <a:gd name="T17" fmla="*/ 0 60000 65536"/>
              <a:gd name="T18" fmla="*/ 5400 w 21600"/>
              <a:gd name="T19" fmla="*/ 0 h 21600"/>
              <a:gd name="T20" fmla="*/ 16200 w 21600"/>
              <a:gd name="T21" fmla="*/ 162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5400" y="0"/>
                </a:moveTo>
                <a:lnTo>
                  <a:pt x="5400" y="10800"/>
                </a:lnTo>
                <a:lnTo>
                  <a:pt x="0" y="10800"/>
                </a:lnTo>
                <a:lnTo>
                  <a:pt x="10800" y="21600"/>
                </a:lnTo>
                <a:lnTo>
                  <a:pt x="21600" y="10800"/>
                </a:lnTo>
                <a:lnTo>
                  <a:pt x="16200" y="10800"/>
                </a:lnTo>
                <a:lnTo>
                  <a:pt x="16200" y="0"/>
                </a:lnTo>
                <a:lnTo>
                  <a:pt x="5400" y="0"/>
                </a:lnTo>
                <a:close/>
              </a:path>
            </a:pathLst>
          </a:custGeom>
          <a:solidFill>
            <a:srgbClr val="FF9300"/>
          </a:solidFill>
          <a:ln w="9528" cap="flat">
            <a:solidFill>
              <a:srgbClr val="FFFFFF"/>
            </a:solidFill>
            <a:prstDash val="solid"/>
            <a:miter lim="800000"/>
            <a:headEnd/>
            <a:tailEnd/>
          </a:ln>
          <a:effectLst>
            <a:outerShdw dist="22997" dir="5400000" algn="tl" rotWithShape="0">
              <a:srgbClr val="808080">
                <a:alpha val="34998"/>
              </a:srgbClr>
            </a:outerShdw>
          </a:effectLst>
        </p:spPr>
        <p:txBody>
          <a:bodyPr anchor="ctr"/>
          <a:lstStyle/>
          <a:p>
            <a:endParaRPr lang="it-IT" dirty="0"/>
          </a:p>
        </p:txBody>
      </p:sp>
      <p:sp>
        <p:nvSpPr>
          <p:cNvPr id="19" name="Freccia giù 9">
            <a:extLst>
              <a:ext uri="{FF2B5EF4-FFF2-40B4-BE49-F238E27FC236}">
                <a16:creationId xmlns:a16="http://schemas.microsoft.com/office/drawing/2014/main" id="{F2D4C506-C47F-EE49-A2F1-D1E023A308F8}"/>
              </a:ext>
            </a:extLst>
          </p:cNvPr>
          <p:cNvSpPr>
            <a:spLocks/>
          </p:cNvSpPr>
          <p:nvPr/>
        </p:nvSpPr>
        <p:spPr bwMode="auto">
          <a:xfrm rot="16200004">
            <a:off x="3583628" y="4585078"/>
            <a:ext cx="457200" cy="1008063"/>
          </a:xfrm>
          <a:custGeom>
            <a:avLst/>
            <a:gdLst>
              <a:gd name="T0" fmla="*/ 30663306 w 21600"/>
              <a:gd name="T1" fmla="*/ 0 h 21600"/>
              <a:gd name="T2" fmla="*/ 61326612 w 21600"/>
              <a:gd name="T3" fmla="*/ 23522917 h 21600"/>
              <a:gd name="T4" fmla="*/ 30663306 w 21600"/>
              <a:gd name="T5" fmla="*/ 47045787 h 21600"/>
              <a:gd name="T6" fmla="*/ 0 w 21600"/>
              <a:gd name="T7" fmla="*/ 23522917 h 21600"/>
              <a:gd name="T8" fmla="*/ 0 w 21600"/>
              <a:gd name="T9" fmla="*/ 23522917 h 21600"/>
              <a:gd name="T10" fmla="*/ 61326612 w 21600"/>
              <a:gd name="T11" fmla="*/ 23522917 h 21600"/>
              <a:gd name="T12" fmla="*/ 17694720 60000 65536"/>
              <a:gd name="T13" fmla="*/ 0 60000 65536"/>
              <a:gd name="T14" fmla="*/ 5898240 60000 65536"/>
              <a:gd name="T15" fmla="*/ 11796480 60000 65536"/>
              <a:gd name="T16" fmla="*/ 11796480 60000 65536"/>
              <a:gd name="T17" fmla="*/ 0 60000 65536"/>
              <a:gd name="T18" fmla="*/ 5400 w 21600"/>
              <a:gd name="T19" fmla="*/ 0 h 21600"/>
              <a:gd name="T20" fmla="*/ 16200 w 21600"/>
              <a:gd name="T21" fmla="*/ 162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5400" y="0"/>
                </a:moveTo>
                <a:lnTo>
                  <a:pt x="5400" y="10800"/>
                </a:lnTo>
                <a:lnTo>
                  <a:pt x="0" y="10800"/>
                </a:lnTo>
                <a:lnTo>
                  <a:pt x="10800" y="21600"/>
                </a:lnTo>
                <a:lnTo>
                  <a:pt x="21600" y="10800"/>
                </a:lnTo>
                <a:lnTo>
                  <a:pt x="16200" y="10800"/>
                </a:lnTo>
                <a:lnTo>
                  <a:pt x="16200" y="0"/>
                </a:lnTo>
                <a:lnTo>
                  <a:pt x="5400" y="0"/>
                </a:lnTo>
                <a:close/>
              </a:path>
            </a:pathLst>
          </a:custGeom>
          <a:solidFill>
            <a:srgbClr val="FF9300">
              <a:alpha val="74901"/>
            </a:srgbClr>
          </a:solidFill>
          <a:ln w="9528" cap="flat">
            <a:solidFill>
              <a:srgbClr val="FFFFFF"/>
            </a:solidFill>
            <a:prstDash val="solid"/>
            <a:miter lim="800000"/>
            <a:headEnd/>
            <a:tailEnd/>
          </a:ln>
          <a:effectLst>
            <a:outerShdw dist="22997" dir="5400000" algn="tl" rotWithShape="0">
              <a:srgbClr val="808080">
                <a:alpha val="34998"/>
              </a:srgbClr>
            </a:outerShdw>
          </a:effectLst>
        </p:spPr>
        <p:txBody>
          <a:bodyPr anchor="ctr"/>
          <a:lstStyle/>
          <a:p>
            <a:endParaRPr lang="it-IT"/>
          </a:p>
        </p:txBody>
      </p:sp>
      <p:grpSp>
        <p:nvGrpSpPr>
          <p:cNvPr id="14" name="Gruppo 13">
            <a:extLst>
              <a:ext uri="{FF2B5EF4-FFF2-40B4-BE49-F238E27FC236}">
                <a16:creationId xmlns:a16="http://schemas.microsoft.com/office/drawing/2014/main" id="{79181A26-3742-7F4C-A552-894828CB3263}"/>
              </a:ext>
            </a:extLst>
          </p:cNvPr>
          <p:cNvGrpSpPr/>
          <p:nvPr/>
        </p:nvGrpSpPr>
        <p:grpSpPr>
          <a:xfrm>
            <a:off x="1454191" y="882156"/>
            <a:ext cx="10198018" cy="1016003"/>
            <a:chOff x="1070605" y="153187"/>
            <a:chExt cx="10198018" cy="1016003"/>
          </a:xfrm>
          <a:solidFill>
            <a:schemeClr val="bg1"/>
          </a:solidFill>
        </p:grpSpPr>
        <p:sp>
          <p:nvSpPr>
            <p:cNvPr id="13" name="Rettangolo 12">
              <a:extLst>
                <a:ext uri="{FF2B5EF4-FFF2-40B4-BE49-F238E27FC236}">
                  <a16:creationId xmlns:a16="http://schemas.microsoft.com/office/drawing/2014/main" id="{A5DE4309-81D7-D546-92BD-C26703FBD41D}"/>
                </a:ext>
              </a:extLst>
            </p:cNvPr>
            <p:cNvSpPr/>
            <p:nvPr/>
          </p:nvSpPr>
          <p:spPr>
            <a:xfrm>
              <a:off x="1070605" y="153187"/>
              <a:ext cx="10198018" cy="1016003"/>
            </a:xfrm>
            <a:prstGeom prst="rect">
              <a:avLst/>
            </a:prstGeom>
            <a:grp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9" name="Gruppo 8">
              <a:extLst>
                <a:ext uri="{FF2B5EF4-FFF2-40B4-BE49-F238E27FC236}">
                  <a16:creationId xmlns:a16="http://schemas.microsoft.com/office/drawing/2014/main" id="{CD8FAA0C-8A25-244F-9FD0-6594E9C09FD1}"/>
                </a:ext>
              </a:extLst>
            </p:cNvPr>
            <p:cNvGrpSpPr/>
            <p:nvPr/>
          </p:nvGrpSpPr>
          <p:grpSpPr>
            <a:xfrm>
              <a:off x="1220789" y="258627"/>
              <a:ext cx="9750421" cy="831412"/>
              <a:chOff x="1683219" y="52979"/>
              <a:chExt cx="9750421" cy="831412"/>
            </a:xfrm>
            <a:grpFill/>
          </p:grpSpPr>
          <p:sp>
            <p:nvSpPr>
              <p:cNvPr id="128009" name="Text Box 14">
                <a:extLst>
                  <a:ext uri="{FF2B5EF4-FFF2-40B4-BE49-F238E27FC236}">
                    <a16:creationId xmlns:a16="http://schemas.microsoft.com/office/drawing/2014/main" id="{1C9E99A4-2F43-9346-A24D-A8B394DF64DC}"/>
                  </a:ext>
                </a:extLst>
              </p:cNvPr>
              <p:cNvSpPr txBox="1">
                <a:spLocks noChangeArrowheads="1"/>
              </p:cNvSpPr>
              <p:nvPr/>
            </p:nvSpPr>
            <p:spPr bwMode="auto">
              <a:xfrm>
                <a:off x="6941307" y="52979"/>
                <a:ext cx="3487119" cy="33855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it-IT" altLang="it-IT" sz="1600" dirty="0" err="1">
                    <a:latin typeface="+mn-lt"/>
                  </a:rPr>
                  <a:t>Cost</a:t>
                </a:r>
                <a:r>
                  <a:rPr lang="it-IT" altLang="it-IT" sz="1600" dirty="0">
                    <a:latin typeface="+mn-lt"/>
                  </a:rPr>
                  <a:t> </a:t>
                </a:r>
                <a:r>
                  <a:rPr lang="it-IT" altLang="it-IT" sz="1600" baseline="-25000" dirty="0" err="1">
                    <a:latin typeface="+mn-lt"/>
                  </a:rPr>
                  <a:t>intervention</a:t>
                </a:r>
                <a:r>
                  <a:rPr lang="it-IT" altLang="it-IT" sz="1600" baseline="-25000" dirty="0">
                    <a:latin typeface="+mn-lt"/>
                  </a:rPr>
                  <a:t> A</a:t>
                </a:r>
                <a:r>
                  <a:rPr lang="it-IT" altLang="it-IT" sz="1600" dirty="0">
                    <a:latin typeface="+mn-lt"/>
                  </a:rPr>
                  <a:t> – </a:t>
                </a:r>
                <a:r>
                  <a:rPr lang="it-IT" altLang="it-IT" sz="1600" dirty="0" err="1">
                    <a:latin typeface="+mn-lt"/>
                  </a:rPr>
                  <a:t>Cost</a:t>
                </a:r>
                <a:r>
                  <a:rPr lang="it-IT" altLang="it-IT" sz="1600" dirty="0">
                    <a:latin typeface="+mn-lt"/>
                  </a:rPr>
                  <a:t> </a:t>
                </a:r>
                <a:r>
                  <a:rPr lang="it-IT" altLang="it-IT" sz="1600" baseline="-25000" dirty="0" err="1">
                    <a:latin typeface="+mn-lt"/>
                  </a:rPr>
                  <a:t>intervention</a:t>
                </a:r>
                <a:r>
                  <a:rPr lang="it-IT" altLang="it-IT" sz="1600" baseline="-25000" dirty="0">
                    <a:latin typeface="+mn-lt"/>
                  </a:rPr>
                  <a:t> B</a:t>
                </a:r>
                <a:r>
                  <a:rPr lang="it-IT" altLang="it-IT" sz="1600" dirty="0">
                    <a:latin typeface="+mn-lt"/>
                  </a:rPr>
                  <a:t>	</a:t>
                </a:r>
              </a:p>
            </p:txBody>
          </p:sp>
          <p:sp>
            <p:nvSpPr>
              <p:cNvPr id="2" name="CasellaDiTesto 1">
                <a:extLst>
                  <a:ext uri="{FF2B5EF4-FFF2-40B4-BE49-F238E27FC236}">
                    <a16:creationId xmlns:a16="http://schemas.microsoft.com/office/drawing/2014/main" id="{C9273219-5BED-C34F-B7EC-AB07420BDD35}"/>
                  </a:ext>
                </a:extLst>
              </p:cNvPr>
              <p:cNvSpPr txBox="1"/>
              <p:nvPr/>
            </p:nvSpPr>
            <p:spPr>
              <a:xfrm>
                <a:off x="1683219" y="312535"/>
                <a:ext cx="4412781" cy="369332"/>
              </a:xfrm>
              <a:prstGeom prst="rect">
                <a:avLst/>
              </a:prstGeom>
              <a:grpFill/>
            </p:spPr>
            <p:txBody>
              <a:bodyPr wrap="square" rtlCol="0">
                <a:spAutoFit/>
              </a:bodyPr>
              <a:lstStyle/>
              <a:p>
                <a:r>
                  <a:rPr lang="it-IT" dirty="0" err="1"/>
                  <a:t>Incremental</a:t>
                </a:r>
                <a:r>
                  <a:rPr lang="it-IT" dirty="0"/>
                  <a:t> </a:t>
                </a:r>
                <a:r>
                  <a:rPr lang="it-IT" dirty="0" err="1"/>
                  <a:t>cost-effectiveness</a:t>
                </a:r>
                <a:r>
                  <a:rPr lang="it-IT" dirty="0"/>
                  <a:t> ratio=</a:t>
                </a:r>
              </a:p>
            </p:txBody>
          </p:sp>
          <p:sp>
            <p:nvSpPr>
              <p:cNvPr id="5" name="CasellaDiTesto 4">
                <a:extLst>
                  <a:ext uri="{FF2B5EF4-FFF2-40B4-BE49-F238E27FC236}">
                    <a16:creationId xmlns:a16="http://schemas.microsoft.com/office/drawing/2014/main" id="{15504E8A-B295-3242-B368-E7BF58F9A547}"/>
                  </a:ext>
                </a:extLst>
              </p:cNvPr>
              <p:cNvSpPr txBox="1"/>
              <p:nvPr/>
            </p:nvSpPr>
            <p:spPr>
              <a:xfrm>
                <a:off x="5960632" y="425601"/>
                <a:ext cx="5473008" cy="458790"/>
              </a:xfrm>
              <a:prstGeom prst="rect">
                <a:avLst/>
              </a:prstGeom>
              <a:grpFill/>
            </p:spPr>
            <p:txBody>
              <a:bodyPr wrap="square" rtlCol="0">
                <a:spAutoFit/>
              </a:bodyPr>
              <a:lstStyle/>
              <a:p>
                <a:r>
                  <a:rPr lang="it-IT" sz="1600" dirty="0" err="1"/>
                  <a:t>Health</a:t>
                </a:r>
                <a:r>
                  <a:rPr lang="it-IT" sz="1600" dirty="0"/>
                  <a:t> </a:t>
                </a:r>
                <a:r>
                  <a:rPr lang="it-IT" sz="1600" dirty="0" err="1"/>
                  <a:t>outcome</a:t>
                </a:r>
                <a:r>
                  <a:rPr lang="it-IT" sz="1600" baseline="-25000" dirty="0" err="1"/>
                  <a:t>intervention</a:t>
                </a:r>
                <a:r>
                  <a:rPr lang="it-IT" sz="1600" baseline="-25000" dirty="0"/>
                  <a:t> A </a:t>
                </a:r>
                <a:r>
                  <a:rPr lang="it-IT" sz="2400" dirty="0"/>
                  <a:t>-</a:t>
                </a:r>
                <a:r>
                  <a:rPr lang="it-IT" sz="1600" dirty="0"/>
                  <a:t> </a:t>
                </a:r>
                <a:r>
                  <a:rPr lang="it-IT" sz="1600" dirty="0" err="1"/>
                  <a:t>Health</a:t>
                </a:r>
                <a:r>
                  <a:rPr lang="it-IT" sz="1600" dirty="0"/>
                  <a:t> </a:t>
                </a:r>
                <a:r>
                  <a:rPr lang="it-IT" sz="1600" dirty="0" err="1"/>
                  <a:t>outcome</a:t>
                </a:r>
                <a:r>
                  <a:rPr lang="it-IT" sz="1600" baseline="-25000" dirty="0" err="1"/>
                  <a:t>intervention</a:t>
                </a:r>
                <a:r>
                  <a:rPr lang="it-IT" sz="1600" baseline="-25000" dirty="0"/>
                  <a:t> B</a:t>
                </a:r>
              </a:p>
            </p:txBody>
          </p:sp>
          <p:cxnSp>
            <p:nvCxnSpPr>
              <p:cNvPr id="7" name="Connettore 1 6">
                <a:extLst>
                  <a:ext uri="{FF2B5EF4-FFF2-40B4-BE49-F238E27FC236}">
                    <a16:creationId xmlns:a16="http://schemas.microsoft.com/office/drawing/2014/main" id="{4D87847C-B761-6C4C-9BDE-EE3A2BA7EEEB}"/>
                  </a:ext>
                </a:extLst>
              </p:cNvPr>
              <p:cNvCxnSpPr>
                <a:cxnSpLocks/>
              </p:cNvCxnSpPr>
              <p:nvPr/>
            </p:nvCxnSpPr>
            <p:spPr>
              <a:xfrm>
                <a:off x="5910024" y="497201"/>
                <a:ext cx="5388240" cy="0"/>
              </a:xfrm>
              <a:prstGeom prst="line">
                <a:avLst/>
              </a:prstGeom>
              <a:grpFill/>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527809930"/>
      </p:ext>
    </p:extLst>
  </p:cSld>
  <p:clrMapOvr>
    <a:masterClrMapping/>
  </p:clrMapOvr>
  <p:transition spd="slow"/>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5" name="Titolo 14">
            <a:extLst>
              <a:ext uri="{FF2B5EF4-FFF2-40B4-BE49-F238E27FC236}">
                <a16:creationId xmlns:a16="http://schemas.microsoft.com/office/drawing/2014/main" id="{FE1BC648-EC30-C046-ADC4-DCBD3454E3AC}"/>
              </a:ext>
            </a:extLst>
          </p:cNvPr>
          <p:cNvSpPr>
            <a:spLocks noChangeArrowheads="1"/>
          </p:cNvSpPr>
          <p:nvPr/>
        </p:nvSpPr>
        <p:spPr bwMode="auto">
          <a:xfrm>
            <a:off x="1135380" y="45404"/>
            <a:ext cx="9921240" cy="877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it-IT" altLang="it-IT" dirty="0">
                <a:solidFill>
                  <a:srgbClr val="000000"/>
                </a:solidFill>
                <a:latin typeface="+mn-lt"/>
                <a:ea typeface="ＭＳ Ｐゴシック" panose="020B0600070205080204" pitchFamily="34" charset="-128"/>
                <a:cs typeface="Arial" panose="020B0604020202020204" pitchFamily="34" charset="0"/>
              </a:rPr>
              <a:t>SPESA FARMACEUTICA CONVENZIONATA E PER ACQUISTI DIRETTI NEL PERIODO GENNAIO-DICEMBRE 2018 E VERIFICA DEL RISPETTO DELLE RISORSE COMPLESSIVE DEL 14,85%</a:t>
            </a:r>
            <a:endParaRPr lang="it-IT" altLang="it-IT" i="1" dirty="0">
              <a:solidFill>
                <a:srgbClr val="000000"/>
              </a:solidFill>
              <a:latin typeface="+mn-lt"/>
              <a:ea typeface="ＭＳ Ｐゴシック" panose="020B0600070205080204" pitchFamily="34" charset="-128"/>
              <a:cs typeface="Arial" panose="020B0604020202020204" pitchFamily="34" charset="0"/>
            </a:endParaRPr>
          </a:p>
        </p:txBody>
      </p:sp>
      <p:sp>
        <p:nvSpPr>
          <p:cNvPr id="129026" name="Rectangle 109">
            <a:extLst>
              <a:ext uri="{FF2B5EF4-FFF2-40B4-BE49-F238E27FC236}">
                <a16:creationId xmlns:a16="http://schemas.microsoft.com/office/drawing/2014/main" id="{FED4E038-F592-0A4C-B2B3-B5C2D38D25F8}"/>
              </a:ext>
            </a:extLst>
          </p:cNvPr>
          <p:cNvSpPr>
            <a:spLocks noChangeArrowheads="1"/>
          </p:cNvSpPr>
          <p:nvPr/>
        </p:nvSpPr>
        <p:spPr bwMode="auto">
          <a:xfrm>
            <a:off x="6446520" y="6566533"/>
            <a:ext cx="5585460"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spcBef>
                <a:spcPts val="600"/>
              </a:spcBef>
            </a:pPr>
            <a:r>
              <a:rPr lang="it-IT" altLang="it-IT" sz="1050" dirty="0">
                <a:solidFill>
                  <a:schemeClr val="tx2"/>
                </a:solidFill>
                <a:latin typeface="+mn-lt"/>
                <a:ea typeface="ＭＳ Ｐゴシック" panose="020B0600070205080204" pitchFamily="34" charset="-128"/>
                <a:cs typeface="Arial" panose="020B0604020202020204" pitchFamily="34" charset="0"/>
              </a:rPr>
              <a:t>Fonte: </a:t>
            </a:r>
            <a:r>
              <a:rPr lang="it-IT" altLang="it-IT" sz="1050" i="1" dirty="0">
                <a:solidFill>
                  <a:schemeClr val="tx2"/>
                </a:solidFill>
                <a:latin typeface="+mn-lt"/>
                <a:ea typeface="ＭＳ Ｐゴシック" panose="020B0600070205080204" pitchFamily="34" charset="-128"/>
                <a:cs typeface="Arial" panose="020B0604020202020204" pitchFamily="34" charset="0"/>
              </a:rPr>
              <a:t>Monitoraggio della Spesa Farmaceutica Nazionale e Regionale (AIFA)</a:t>
            </a:r>
          </a:p>
        </p:txBody>
      </p:sp>
      <p:pic>
        <p:nvPicPr>
          <p:cNvPr id="129027" name="Immagine 1">
            <a:extLst>
              <a:ext uri="{FF2B5EF4-FFF2-40B4-BE49-F238E27FC236}">
                <a16:creationId xmlns:a16="http://schemas.microsoft.com/office/drawing/2014/main" id="{3E5E3864-1D34-3047-8686-9FE77A38824B}"/>
              </a:ext>
            </a:extLst>
          </p:cNvPr>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1958975" y="923289"/>
            <a:ext cx="8274050" cy="4360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Connettore 1 6">
            <a:extLst>
              <a:ext uri="{FF2B5EF4-FFF2-40B4-BE49-F238E27FC236}">
                <a16:creationId xmlns:a16="http://schemas.microsoft.com/office/drawing/2014/main" id="{DF6C71C7-28C0-0449-B362-26BCEC6C89B6}"/>
              </a:ext>
            </a:extLst>
          </p:cNvPr>
          <p:cNvCxnSpPr/>
          <p:nvPr/>
        </p:nvCxnSpPr>
        <p:spPr>
          <a:xfrm>
            <a:off x="2197510" y="923289"/>
            <a:ext cx="1932038"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46685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magine 9">
            <a:extLst>
              <a:ext uri="{FF2B5EF4-FFF2-40B4-BE49-F238E27FC236}">
                <a16:creationId xmlns:a16="http://schemas.microsoft.com/office/drawing/2014/main" id="{573EA255-FEC2-8D47-A8D3-8467746A98E7}"/>
              </a:ext>
            </a:extLst>
          </p:cNvPr>
          <p:cNvPicPr>
            <a:picLocks noChangeAspect="1"/>
          </p:cNvPicPr>
          <p:nvPr/>
        </p:nvPicPr>
        <p:blipFill>
          <a:blip r:embed="rId2">
            <a:duotone>
              <a:schemeClr val="accent6">
                <a:shade val="45000"/>
                <a:satMod val="135000"/>
              </a:schemeClr>
              <a:prstClr val="white"/>
            </a:duotone>
            <a:alphaModFix amt="30000"/>
            <a:extLst>
              <a:ext uri="{BEBA8EAE-BF5A-486C-A8C5-ECC9F3942E4B}">
                <a14:imgProps xmlns:a14="http://schemas.microsoft.com/office/drawing/2010/main">
                  <a14:imgLayer r:embed="rId3">
                    <a14:imgEffect>
                      <a14:colorTemperature colorTemp="1500"/>
                    </a14:imgEffect>
                    <a14:imgEffect>
                      <a14:saturation sat="0"/>
                    </a14:imgEffect>
                  </a14:imgLayer>
                </a14:imgProps>
              </a:ext>
            </a:extLst>
          </a:blip>
          <a:stretch>
            <a:fillRect/>
          </a:stretch>
        </p:blipFill>
        <p:spPr>
          <a:xfrm>
            <a:off x="0" y="0"/>
            <a:ext cx="12199171" cy="6858000"/>
          </a:xfrm>
          <a:prstGeom prst="rect">
            <a:avLst/>
          </a:prstGeom>
          <a:solidFill>
            <a:srgbClr val="FFFFFF"/>
          </a:solidFill>
          <a:ln>
            <a:solidFill>
              <a:schemeClr val="bg1"/>
            </a:solidFill>
          </a:ln>
        </p:spPr>
      </p:pic>
      <p:sp>
        <p:nvSpPr>
          <p:cNvPr id="130049" name="Titolo 14">
            <a:extLst>
              <a:ext uri="{FF2B5EF4-FFF2-40B4-BE49-F238E27FC236}">
                <a16:creationId xmlns:a16="http://schemas.microsoft.com/office/drawing/2014/main" id="{9D00EAEE-8565-7D42-AAC0-44298473347A}"/>
              </a:ext>
            </a:extLst>
          </p:cNvPr>
          <p:cNvSpPr>
            <a:spLocks noChangeArrowheads="1"/>
          </p:cNvSpPr>
          <p:nvPr/>
        </p:nvSpPr>
        <p:spPr bwMode="auto">
          <a:xfrm>
            <a:off x="1876425" y="234591"/>
            <a:ext cx="8439150"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spcAft>
                <a:spcPts val="200"/>
              </a:spcAft>
            </a:pPr>
            <a:r>
              <a:rPr lang="it-IT" altLang="it-IT" sz="2000" dirty="0">
                <a:solidFill>
                  <a:srgbClr val="000000"/>
                </a:solidFill>
                <a:latin typeface="+mn-lt"/>
                <a:ea typeface="ＭＳ Ｐゴシック" panose="020B0600070205080204" pitchFamily="34" charset="-128"/>
                <a:cs typeface="Arial" panose="020B0604020202020204" pitchFamily="34" charset="0"/>
              </a:rPr>
              <a:t>EFFETTO CONSUMI, PREZZI E “MIX” SULLA VARIAZIONE DELLA SPESA FARMACEUTICA CONVENZIONATA E PER ACQUISTI DIRETTI</a:t>
            </a:r>
          </a:p>
        </p:txBody>
      </p:sp>
      <p:sp>
        <p:nvSpPr>
          <p:cNvPr id="2" name="CasellaDiTesto 1">
            <a:extLst>
              <a:ext uri="{FF2B5EF4-FFF2-40B4-BE49-F238E27FC236}">
                <a16:creationId xmlns:a16="http://schemas.microsoft.com/office/drawing/2014/main" id="{79205295-448D-AB46-BADF-4C7DB84E3978}"/>
              </a:ext>
            </a:extLst>
          </p:cNvPr>
          <p:cNvSpPr txBox="1"/>
          <p:nvPr/>
        </p:nvSpPr>
        <p:spPr>
          <a:xfrm>
            <a:off x="1774728" y="3052188"/>
            <a:ext cx="8229600" cy="646331"/>
          </a:xfrm>
          <a:prstGeom prst="rect">
            <a:avLst/>
          </a:prstGeom>
          <a:solidFill>
            <a:srgbClr val="FFFFFF"/>
          </a:solidFill>
          <a:ln>
            <a:solidFill>
              <a:schemeClr val="tx2"/>
            </a:solidFill>
          </a:ln>
        </p:spPr>
        <p:txBody>
          <a:bodyPr wrap="square" rtlCol="0">
            <a:spAutoFit/>
          </a:bodyPr>
          <a:lstStyle/>
          <a:p>
            <a:pPr algn="ctr"/>
            <a:r>
              <a:rPr lang="it-IT" sz="3600" b="1" dirty="0"/>
              <a:t>SPESA</a:t>
            </a:r>
            <a:r>
              <a:rPr lang="it-IT" sz="3600" dirty="0"/>
              <a:t>= </a:t>
            </a:r>
            <a:r>
              <a:rPr lang="it-IT" sz="3600" b="1" dirty="0"/>
              <a:t>QUANTITÀ</a:t>
            </a:r>
            <a:r>
              <a:rPr lang="it-IT" sz="3600" dirty="0"/>
              <a:t> x </a:t>
            </a:r>
            <a:r>
              <a:rPr lang="it-IT" sz="3600" b="1" dirty="0"/>
              <a:t>PREZZI</a:t>
            </a:r>
            <a:r>
              <a:rPr lang="it-IT" sz="3600" dirty="0"/>
              <a:t> x </a:t>
            </a:r>
            <a:r>
              <a:rPr lang="it-IT" sz="3600" b="1" dirty="0"/>
              <a:t>MIX</a:t>
            </a:r>
          </a:p>
        </p:txBody>
      </p:sp>
      <p:cxnSp>
        <p:nvCxnSpPr>
          <p:cNvPr id="12" name="Connettore 2 3">
            <a:extLst>
              <a:ext uri="{FF2B5EF4-FFF2-40B4-BE49-F238E27FC236}">
                <a16:creationId xmlns:a16="http://schemas.microsoft.com/office/drawing/2014/main" id="{734D25E4-8ECB-7E4B-8AB7-CF6789D7C35D}"/>
              </a:ext>
            </a:extLst>
          </p:cNvPr>
          <p:cNvCxnSpPr>
            <a:cxnSpLocks noChangeShapeType="1"/>
          </p:cNvCxnSpPr>
          <p:nvPr/>
        </p:nvCxnSpPr>
        <p:spPr bwMode="auto">
          <a:xfrm flipH="1">
            <a:off x="3515596" y="3606801"/>
            <a:ext cx="1628775" cy="896937"/>
          </a:xfrm>
          <a:prstGeom prst="straightConnector1">
            <a:avLst/>
          </a:prstGeom>
          <a:noFill/>
          <a:ln w="9528">
            <a:solidFill>
              <a:srgbClr val="000000"/>
            </a:solidFill>
            <a:miter lim="800000"/>
            <a:headEnd/>
            <a:tailEnd type="arrow" w="med" len="med"/>
          </a:ln>
          <a:extLst>
            <a:ext uri="{909E8E84-426E-40DD-AFC4-6F175D3DCCD1}">
              <a14:hiddenFill xmlns:a14="http://schemas.microsoft.com/office/drawing/2010/main">
                <a:noFill/>
              </a14:hiddenFill>
            </a:ext>
          </a:extLst>
        </p:spPr>
      </p:cxnSp>
      <p:cxnSp>
        <p:nvCxnSpPr>
          <p:cNvPr id="13" name="Connettore 2 11">
            <a:extLst>
              <a:ext uri="{FF2B5EF4-FFF2-40B4-BE49-F238E27FC236}">
                <a16:creationId xmlns:a16="http://schemas.microsoft.com/office/drawing/2014/main" id="{79230CC7-3763-A348-906B-790E83CCD67D}"/>
              </a:ext>
            </a:extLst>
          </p:cNvPr>
          <p:cNvCxnSpPr>
            <a:cxnSpLocks noChangeShapeType="1"/>
            <a:endCxn id="9" idx="0"/>
          </p:cNvCxnSpPr>
          <p:nvPr/>
        </p:nvCxnSpPr>
        <p:spPr bwMode="auto">
          <a:xfrm flipH="1">
            <a:off x="6407845" y="3624240"/>
            <a:ext cx="867466" cy="1317608"/>
          </a:xfrm>
          <a:prstGeom prst="straightConnector1">
            <a:avLst/>
          </a:prstGeom>
          <a:noFill/>
          <a:ln w="9528">
            <a:solidFill>
              <a:srgbClr val="000000"/>
            </a:solidFill>
            <a:miter lim="800000"/>
            <a:headEnd/>
            <a:tailEnd type="arrow" w="med" len="med"/>
          </a:ln>
          <a:extLst>
            <a:ext uri="{909E8E84-426E-40DD-AFC4-6F175D3DCCD1}">
              <a14:hiddenFill xmlns:a14="http://schemas.microsoft.com/office/drawing/2010/main">
                <a:noFill/>
              </a14:hiddenFill>
            </a:ext>
          </a:extLst>
        </p:spPr>
      </p:cxnSp>
      <p:cxnSp>
        <p:nvCxnSpPr>
          <p:cNvPr id="14" name="Connettore 2 14">
            <a:extLst>
              <a:ext uri="{FF2B5EF4-FFF2-40B4-BE49-F238E27FC236}">
                <a16:creationId xmlns:a16="http://schemas.microsoft.com/office/drawing/2014/main" id="{9B46DB68-36A8-8941-824F-F408B1DCB90D}"/>
              </a:ext>
            </a:extLst>
          </p:cNvPr>
          <p:cNvCxnSpPr>
            <a:cxnSpLocks noChangeShapeType="1"/>
          </p:cNvCxnSpPr>
          <p:nvPr/>
        </p:nvCxnSpPr>
        <p:spPr bwMode="auto">
          <a:xfrm>
            <a:off x="9114331" y="3621595"/>
            <a:ext cx="1003063" cy="825668"/>
          </a:xfrm>
          <a:prstGeom prst="straightConnector1">
            <a:avLst/>
          </a:prstGeom>
          <a:noFill/>
          <a:ln w="9528">
            <a:solidFill>
              <a:srgbClr val="000000"/>
            </a:solidFill>
            <a:miter lim="800000"/>
            <a:headEnd/>
            <a:tailEnd type="arrow" w="med" len="med"/>
          </a:ln>
          <a:extLst>
            <a:ext uri="{909E8E84-426E-40DD-AFC4-6F175D3DCCD1}">
              <a14:hiddenFill xmlns:a14="http://schemas.microsoft.com/office/drawing/2010/main">
                <a:noFill/>
              </a14:hiddenFill>
            </a:ext>
          </a:extLst>
        </p:spPr>
      </p:cxnSp>
      <p:sp>
        <p:nvSpPr>
          <p:cNvPr id="4" name="CasellaDiTesto 3">
            <a:extLst>
              <a:ext uri="{FF2B5EF4-FFF2-40B4-BE49-F238E27FC236}">
                <a16:creationId xmlns:a16="http://schemas.microsoft.com/office/drawing/2014/main" id="{2D8B32A0-BA52-954A-A214-6671F856BBA1}"/>
              </a:ext>
            </a:extLst>
          </p:cNvPr>
          <p:cNvSpPr txBox="1"/>
          <p:nvPr/>
        </p:nvSpPr>
        <p:spPr>
          <a:xfrm>
            <a:off x="990396" y="4253132"/>
            <a:ext cx="2769317" cy="1200329"/>
          </a:xfrm>
          <a:prstGeom prst="rect">
            <a:avLst/>
          </a:prstGeom>
          <a:noFill/>
        </p:spPr>
        <p:txBody>
          <a:bodyPr wrap="square" rtlCol="0">
            <a:spAutoFit/>
          </a:bodyPr>
          <a:lstStyle/>
          <a:p>
            <a:pPr algn="ctr"/>
            <a:r>
              <a:rPr lang="it-IT" dirty="0"/>
              <a:t>Effetto quantità: </a:t>
            </a:r>
            <a:r>
              <a:rPr lang="it-IT" b="1" dirty="0"/>
              <a:t>variazione delle quantità di farmaci consumati</a:t>
            </a:r>
          </a:p>
        </p:txBody>
      </p:sp>
      <p:sp>
        <p:nvSpPr>
          <p:cNvPr id="9" name="CasellaDiTesto 8">
            <a:extLst>
              <a:ext uri="{FF2B5EF4-FFF2-40B4-BE49-F238E27FC236}">
                <a16:creationId xmlns:a16="http://schemas.microsoft.com/office/drawing/2014/main" id="{DBB06D75-0BDF-6C41-9C06-854B522606BB}"/>
              </a:ext>
            </a:extLst>
          </p:cNvPr>
          <p:cNvSpPr txBox="1"/>
          <p:nvPr/>
        </p:nvSpPr>
        <p:spPr>
          <a:xfrm>
            <a:off x="5295136" y="4941848"/>
            <a:ext cx="2225417" cy="1200329"/>
          </a:xfrm>
          <a:prstGeom prst="rect">
            <a:avLst/>
          </a:prstGeom>
          <a:noFill/>
        </p:spPr>
        <p:txBody>
          <a:bodyPr wrap="square" rtlCol="0">
            <a:spAutoFit/>
          </a:bodyPr>
          <a:lstStyle/>
          <a:p>
            <a:pPr algn="ctr"/>
            <a:r>
              <a:rPr lang="it-IT" dirty="0"/>
              <a:t>Effetto prezzi:</a:t>
            </a:r>
          </a:p>
          <a:p>
            <a:pPr algn="ctr"/>
            <a:r>
              <a:rPr lang="it-IT" b="1" dirty="0"/>
              <a:t>variazioni anno su anno del prezzo dei farmaci</a:t>
            </a:r>
          </a:p>
        </p:txBody>
      </p:sp>
      <p:sp>
        <p:nvSpPr>
          <p:cNvPr id="15" name="CasellaDiTesto 14">
            <a:extLst>
              <a:ext uri="{FF2B5EF4-FFF2-40B4-BE49-F238E27FC236}">
                <a16:creationId xmlns:a16="http://schemas.microsoft.com/office/drawing/2014/main" id="{6B9D2B85-931F-C94A-B8D5-4B50FDD74425}"/>
              </a:ext>
            </a:extLst>
          </p:cNvPr>
          <p:cNvSpPr txBox="1"/>
          <p:nvPr/>
        </p:nvSpPr>
        <p:spPr>
          <a:xfrm>
            <a:off x="9055976" y="4447263"/>
            <a:ext cx="2724866" cy="1908215"/>
          </a:xfrm>
          <a:prstGeom prst="rect">
            <a:avLst/>
          </a:prstGeom>
          <a:noFill/>
        </p:spPr>
        <p:txBody>
          <a:bodyPr wrap="square" rtlCol="0">
            <a:spAutoFit/>
          </a:bodyPr>
          <a:lstStyle/>
          <a:p>
            <a:pPr algn="ctr"/>
            <a:r>
              <a:rPr lang="it-IT" dirty="0"/>
              <a:t>Effetto mix:</a:t>
            </a:r>
          </a:p>
          <a:p>
            <a:pPr algn="ctr"/>
            <a:r>
              <a:rPr lang="it-IT" b="1" dirty="0"/>
              <a:t>variazione del mix dei consumi </a:t>
            </a:r>
          </a:p>
          <a:p>
            <a:pPr algn="ctr"/>
            <a:r>
              <a:rPr lang="it-IT" sz="1600" dirty="0"/>
              <a:t>(verso farmaci più </a:t>
            </a:r>
            <a:r>
              <a:rPr lang="it-IT" sz="1600" dirty="0" err="1"/>
              <a:t>costosi➜effetto</a:t>
            </a:r>
            <a:r>
              <a:rPr lang="it-IT" sz="1600" dirty="0"/>
              <a:t> mix positivo; se meno costosi ➜effetto mix negativo)</a:t>
            </a:r>
            <a:endParaRPr lang="it-IT" dirty="0"/>
          </a:p>
        </p:txBody>
      </p:sp>
      <p:sp>
        <p:nvSpPr>
          <p:cNvPr id="19" name="CasellaDiTesto 18">
            <a:extLst>
              <a:ext uri="{FF2B5EF4-FFF2-40B4-BE49-F238E27FC236}">
                <a16:creationId xmlns:a16="http://schemas.microsoft.com/office/drawing/2014/main" id="{653987D6-7BFD-3441-B18B-68D03F9DB8F5}"/>
              </a:ext>
            </a:extLst>
          </p:cNvPr>
          <p:cNvSpPr txBox="1"/>
          <p:nvPr/>
        </p:nvSpPr>
        <p:spPr>
          <a:xfrm>
            <a:off x="3978610" y="3052188"/>
            <a:ext cx="2448232" cy="654105"/>
          </a:xfrm>
          <a:prstGeom prst="rect">
            <a:avLst/>
          </a:prstGeom>
          <a:noFill/>
        </p:spPr>
        <p:txBody>
          <a:bodyPr wrap="square" rtlCol="0">
            <a:spAutoFit/>
          </a:bodyPr>
          <a:lstStyle/>
          <a:p>
            <a:r>
              <a:rPr lang="it-IT" sz="3600" b="1" dirty="0">
                <a:solidFill>
                  <a:srgbClr val="0432FF"/>
                </a:solidFill>
              </a:rPr>
              <a:t>QUANTITÀ</a:t>
            </a:r>
            <a:endParaRPr lang="it-IT" sz="3600" dirty="0">
              <a:solidFill>
                <a:srgbClr val="0432FF"/>
              </a:solidFill>
            </a:endParaRPr>
          </a:p>
        </p:txBody>
      </p:sp>
      <p:sp>
        <p:nvSpPr>
          <p:cNvPr id="20" name="CasellaDiTesto 19">
            <a:extLst>
              <a:ext uri="{FF2B5EF4-FFF2-40B4-BE49-F238E27FC236}">
                <a16:creationId xmlns:a16="http://schemas.microsoft.com/office/drawing/2014/main" id="{0CEB5E86-955D-7A4A-A3A5-F3CC91A14A43}"/>
              </a:ext>
            </a:extLst>
          </p:cNvPr>
          <p:cNvSpPr txBox="1"/>
          <p:nvPr/>
        </p:nvSpPr>
        <p:spPr>
          <a:xfrm>
            <a:off x="2518384" y="1285639"/>
            <a:ext cx="4704734" cy="523220"/>
          </a:xfrm>
          <a:prstGeom prst="rect">
            <a:avLst/>
          </a:prstGeom>
          <a:noFill/>
        </p:spPr>
        <p:txBody>
          <a:bodyPr wrap="square" rtlCol="0">
            <a:spAutoFit/>
          </a:bodyPr>
          <a:lstStyle/>
          <a:p>
            <a:pPr algn="ctr"/>
            <a:r>
              <a:rPr lang="it-IT" sz="2800" b="1" dirty="0">
                <a:solidFill>
                  <a:srgbClr val="0432FF"/>
                </a:solidFill>
              </a:rPr>
              <a:t>PAZIENTI</a:t>
            </a:r>
            <a:r>
              <a:rPr lang="it-IT" sz="2800" dirty="0">
                <a:solidFill>
                  <a:srgbClr val="0432FF"/>
                </a:solidFill>
              </a:rPr>
              <a:t> x </a:t>
            </a:r>
            <a:r>
              <a:rPr lang="it-IT" sz="2800" b="1" dirty="0">
                <a:solidFill>
                  <a:srgbClr val="0432FF"/>
                </a:solidFill>
              </a:rPr>
              <a:t>FREQUENZA</a:t>
            </a:r>
          </a:p>
        </p:txBody>
      </p:sp>
      <p:sp>
        <p:nvSpPr>
          <p:cNvPr id="21" name="CasellaDiTesto 20">
            <a:extLst>
              <a:ext uri="{FF2B5EF4-FFF2-40B4-BE49-F238E27FC236}">
                <a16:creationId xmlns:a16="http://schemas.microsoft.com/office/drawing/2014/main" id="{D0AC96A6-C27E-5240-AC49-F43312EE0E9F}"/>
              </a:ext>
            </a:extLst>
          </p:cNvPr>
          <p:cNvSpPr txBox="1"/>
          <p:nvPr/>
        </p:nvSpPr>
        <p:spPr>
          <a:xfrm>
            <a:off x="6644477" y="2088035"/>
            <a:ext cx="2858068" cy="523220"/>
          </a:xfrm>
          <a:prstGeom prst="rect">
            <a:avLst/>
          </a:prstGeom>
          <a:noFill/>
        </p:spPr>
        <p:txBody>
          <a:bodyPr wrap="square" rtlCol="0">
            <a:spAutoFit/>
          </a:bodyPr>
          <a:lstStyle/>
          <a:p>
            <a:r>
              <a:rPr lang="it-IT" sz="2800" b="1" dirty="0">
                <a:solidFill>
                  <a:schemeClr val="accent6"/>
                </a:solidFill>
              </a:rPr>
              <a:t>INNOVAZIONE</a:t>
            </a:r>
          </a:p>
        </p:txBody>
      </p:sp>
      <p:sp>
        <p:nvSpPr>
          <p:cNvPr id="25" name="Freccia giù 24">
            <a:extLst>
              <a:ext uri="{FF2B5EF4-FFF2-40B4-BE49-F238E27FC236}">
                <a16:creationId xmlns:a16="http://schemas.microsoft.com/office/drawing/2014/main" id="{4DD0D159-7DD8-4E47-B8D6-E3EF50A87F21}"/>
              </a:ext>
            </a:extLst>
          </p:cNvPr>
          <p:cNvSpPr/>
          <p:nvPr/>
        </p:nvSpPr>
        <p:spPr>
          <a:xfrm rot="9521505">
            <a:off x="4908074" y="1743460"/>
            <a:ext cx="82227" cy="1413910"/>
          </a:xfrm>
          <a:prstGeom prst="downArrow">
            <a:avLst/>
          </a:prstGeom>
          <a:solidFill>
            <a:srgbClr val="0432FF">
              <a:alpha val="51000"/>
            </a:srgbClr>
          </a:solidFill>
          <a:ln>
            <a:solidFill>
              <a:srgbClr val="0432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7" name="Parentesi graffa aperta 26">
            <a:extLst>
              <a:ext uri="{FF2B5EF4-FFF2-40B4-BE49-F238E27FC236}">
                <a16:creationId xmlns:a16="http://schemas.microsoft.com/office/drawing/2014/main" id="{5BC1F4F2-FEC5-9C4D-917B-5255827D0ABE}"/>
              </a:ext>
            </a:extLst>
          </p:cNvPr>
          <p:cNvSpPr/>
          <p:nvPr/>
        </p:nvSpPr>
        <p:spPr>
          <a:xfrm rot="5400000">
            <a:off x="7811901" y="1550223"/>
            <a:ext cx="523220" cy="2858068"/>
          </a:xfrm>
          <a:prstGeom prst="leftBrace">
            <a:avLst/>
          </a:prstGeom>
          <a:ln w="38100"/>
        </p:spPr>
        <p:style>
          <a:lnRef idx="3">
            <a:schemeClr val="accent6"/>
          </a:lnRef>
          <a:fillRef idx="0">
            <a:schemeClr val="accent6"/>
          </a:fillRef>
          <a:effectRef idx="2">
            <a:schemeClr val="accent6"/>
          </a:effectRef>
          <a:fontRef idx="minor">
            <a:schemeClr val="tx1"/>
          </a:fontRef>
        </p:style>
        <p:txBody>
          <a:bodyPr rtlCol="0" anchor="ctr"/>
          <a:lstStyle/>
          <a:p>
            <a:pPr algn="ctr"/>
            <a:endParaRPr lang="it-IT" b="1" dirty="0">
              <a:solidFill>
                <a:srgbClr val="0432FF"/>
              </a:solidFill>
            </a:endParaRPr>
          </a:p>
        </p:txBody>
      </p:sp>
      <p:sp>
        <p:nvSpPr>
          <p:cNvPr id="30" name="Rettangolo 29">
            <a:extLst>
              <a:ext uri="{FF2B5EF4-FFF2-40B4-BE49-F238E27FC236}">
                <a16:creationId xmlns:a16="http://schemas.microsoft.com/office/drawing/2014/main" id="{24F2576D-2EB1-ED4E-A9D2-AF0B0D3A638E}"/>
              </a:ext>
            </a:extLst>
          </p:cNvPr>
          <p:cNvSpPr/>
          <p:nvPr/>
        </p:nvSpPr>
        <p:spPr>
          <a:xfrm>
            <a:off x="3517151" y="814572"/>
            <a:ext cx="485124" cy="707886"/>
          </a:xfrm>
          <a:prstGeom prst="rect">
            <a:avLst/>
          </a:prstGeom>
          <a:noFill/>
        </p:spPr>
        <p:txBody>
          <a:bodyPr wrap="square" lIns="91440" tIns="45720" rIns="91440" bIns="45720">
            <a:spAutoFit/>
          </a:bodyPr>
          <a:lstStyle/>
          <a:p>
            <a:pPr algn="ctr"/>
            <a:r>
              <a:rPr lang="it-IT" sz="4000"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a:t>
            </a:r>
            <a:endParaRPr lang="it-IT" sz="4000" b="1" cap="none" spc="0" dirty="0">
              <a:ln w="10160">
                <a:solidFill>
                  <a:schemeClr val="accent5"/>
                </a:solidFill>
                <a:prstDash val="solid"/>
              </a:ln>
              <a:solidFill>
                <a:srgbClr val="FFFFFF"/>
              </a:solidFill>
              <a:effectLst>
                <a:outerShdw blurRad="38100" dist="22860" dir="5400000" algn="tl" rotWithShape="0">
                  <a:srgbClr val="000000">
                    <a:alpha val="30000"/>
                  </a:srgbClr>
                </a:outerShdw>
              </a:effectLst>
            </a:endParaRPr>
          </a:p>
        </p:txBody>
      </p:sp>
      <p:sp>
        <p:nvSpPr>
          <p:cNvPr id="36" name="Rettangolo 35">
            <a:extLst>
              <a:ext uri="{FF2B5EF4-FFF2-40B4-BE49-F238E27FC236}">
                <a16:creationId xmlns:a16="http://schemas.microsoft.com/office/drawing/2014/main" id="{1915D0D6-476F-5F44-9A5C-7E20E19CADA6}"/>
              </a:ext>
            </a:extLst>
          </p:cNvPr>
          <p:cNvSpPr/>
          <p:nvPr/>
        </p:nvSpPr>
        <p:spPr>
          <a:xfrm>
            <a:off x="5610876" y="792086"/>
            <a:ext cx="485124" cy="707886"/>
          </a:xfrm>
          <a:prstGeom prst="rect">
            <a:avLst/>
          </a:prstGeom>
          <a:noFill/>
        </p:spPr>
        <p:txBody>
          <a:bodyPr wrap="square" lIns="91440" tIns="45720" rIns="91440" bIns="45720">
            <a:spAutoFit/>
          </a:bodyPr>
          <a:lstStyle/>
          <a:p>
            <a:pPr algn="ctr"/>
            <a:r>
              <a:rPr lang="it-IT" sz="4000"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a:t>
            </a:r>
            <a:endParaRPr lang="it-IT" sz="4000" b="1" cap="none" spc="0" dirty="0">
              <a:ln w="10160">
                <a:solidFill>
                  <a:schemeClr val="accent5"/>
                </a:solidFill>
                <a:prstDash val="solid"/>
              </a:ln>
              <a:solidFill>
                <a:srgbClr val="FFFFFF"/>
              </a:solidFill>
              <a:effectLst>
                <a:outerShdw blurRad="38100" dist="22860" dir="5400000" algn="tl" rotWithShape="0">
                  <a:srgbClr val="000000">
                    <a:alpha val="30000"/>
                  </a:srgbClr>
                </a:outerShdw>
              </a:effectLst>
            </a:endParaRPr>
          </a:p>
        </p:txBody>
      </p:sp>
      <p:sp>
        <p:nvSpPr>
          <p:cNvPr id="37" name="Rettangolo 36">
            <a:extLst>
              <a:ext uri="{FF2B5EF4-FFF2-40B4-BE49-F238E27FC236}">
                <a16:creationId xmlns:a16="http://schemas.microsoft.com/office/drawing/2014/main" id="{61941553-93F9-8E4E-988D-6F314E1DF7E1}"/>
              </a:ext>
            </a:extLst>
          </p:cNvPr>
          <p:cNvSpPr/>
          <p:nvPr/>
        </p:nvSpPr>
        <p:spPr>
          <a:xfrm>
            <a:off x="5233702" y="2275064"/>
            <a:ext cx="485124" cy="923330"/>
          </a:xfrm>
          <a:prstGeom prst="rect">
            <a:avLst/>
          </a:prstGeom>
          <a:noFill/>
        </p:spPr>
        <p:txBody>
          <a:bodyPr wrap="square" lIns="91440" tIns="45720" rIns="91440" bIns="45720">
            <a:spAutoFit/>
          </a:bodyPr>
          <a:lstStyle/>
          <a:p>
            <a:pPr algn="ctr"/>
            <a:r>
              <a:rPr lang="it-IT" sz="5400"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a:t>
            </a:r>
            <a:endParaRPr lang="it-IT" sz="5400" b="1" cap="none" spc="0" dirty="0">
              <a:ln w="10160">
                <a:solidFill>
                  <a:schemeClr val="accent5"/>
                </a:solidFill>
                <a:prstDash val="solid"/>
              </a:ln>
              <a:solidFill>
                <a:srgbClr val="FFFFFF"/>
              </a:solidFill>
              <a:effectLst>
                <a:outerShdw blurRad="38100" dist="22860" dir="5400000" algn="tl" rotWithShape="0">
                  <a:srgbClr val="000000">
                    <a:alpha val="30000"/>
                  </a:srgbClr>
                </a:outerShdw>
              </a:effectLst>
            </a:endParaRPr>
          </a:p>
        </p:txBody>
      </p:sp>
      <p:sp>
        <p:nvSpPr>
          <p:cNvPr id="38" name="Rettangolo 37">
            <a:extLst>
              <a:ext uri="{FF2B5EF4-FFF2-40B4-BE49-F238E27FC236}">
                <a16:creationId xmlns:a16="http://schemas.microsoft.com/office/drawing/2014/main" id="{8AB980AF-1346-7942-B65A-ADA2196F4F8F}"/>
              </a:ext>
            </a:extLst>
          </p:cNvPr>
          <p:cNvSpPr/>
          <p:nvPr/>
        </p:nvSpPr>
        <p:spPr>
          <a:xfrm>
            <a:off x="2810397" y="2275064"/>
            <a:ext cx="485124" cy="923330"/>
          </a:xfrm>
          <a:prstGeom prst="rect">
            <a:avLst/>
          </a:prstGeom>
          <a:noFill/>
        </p:spPr>
        <p:txBody>
          <a:bodyPr wrap="square" lIns="91440" tIns="45720" rIns="91440" bIns="45720">
            <a:spAutoFit/>
          </a:bodyPr>
          <a:lstStyle/>
          <a:p>
            <a:pPr algn="ctr"/>
            <a:r>
              <a:rPr lang="it-IT" sz="5400" b="1" dirty="0">
                <a:ln w="10160">
                  <a:solidFill>
                    <a:srgbClr val="FF0000"/>
                  </a:solidFill>
                  <a:prstDash val="solid"/>
                </a:ln>
                <a:solidFill>
                  <a:srgbClr val="FFFFFF"/>
                </a:solidFill>
                <a:effectLst>
                  <a:outerShdw blurRad="38100" dist="22860" dir="5400000" algn="tl" rotWithShape="0">
                    <a:srgbClr val="000000">
                      <a:alpha val="30000"/>
                    </a:srgbClr>
                  </a:outerShdw>
                </a:effectLst>
              </a:rPr>
              <a:t>?</a:t>
            </a:r>
            <a:endParaRPr lang="it-IT" sz="5400" b="1" cap="none" spc="0" dirty="0">
              <a:ln w="10160">
                <a:solidFill>
                  <a:srgbClr val="FF0000"/>
                </a:solidFill>
                <a:prstDash val="solid"/>
              </a:ln>
              <a:solidFill>
                <a:srgbClr val="FFFFFF"/>
              </a:solidFill>
              <a:effectLst>
                <a:outerShdw blurRad="38100" dist="22860" dir="5400000" algn="tl" rotWithShape="0">
                  <a:srgbClr val="000000">
                    <a:alpha val="30000"/>
                  </a:srgbClr>
                </a:outerShdw>
              </a:effectLst>
            </a:endParaRPr>
          </a:p>
        </p:txBody>
      </p:sp>
    </p:spTree>
    <p:extLst>
      <p:ext uri="{BB962C8B-B14F-4D97-AF65-F5344CB8AC3E}">
        <p14:creationId xmlns:p14="http://schemas.microsoft.com/office/powerpoint/2010/main" val="1345784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12"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strips(downLeft)">
                                      <p:cBhvr>
                                        <p:cTn id="7" dur="5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dissolve">
                                      <p:cBhvr>
                                        <p:cTn id="12" dur="500"/>
                                        <p:tgtEl>
                                          <p:spTgt spid="25"/>
                                        </p:tgtEl>
                                      </p:cBhvr>
                                    </p:animEffect>
                                  </p:childTnLst>
                                </p:cTn>
                              </p:par>
                              <p:par>
                                <p:cTn id="13" presetID="9" presetClass="entr" presetSubtype="0" fill="hold" grpId="0" nodeType="withEffect">
                                  <p:stCondLst>
                                    <p:cond delay="0"/>
                                  </p:stCondLst>
                                  <p:childTnLst>
                                    <p:set>
                                      <p:cBhvr>
                                        <p:cTn id="14" dur="1" fill="hold">
                                          <p:stCondLst>
                                            <p:cond delay="0"/>
                                          </p:stCondLst>
                                        </p:cTn>
                                        <p:tgtEl>
                                          <p:spTgt spid="37"/>
                                        </p:tgtEl>
                                        <p:attrNameLst>
                                          <p:attrName>style.visibility</p:attrName>
                                        </p:attrNameLst>
                                      </p:cBhvr>
                                      <p:to>
                                        <p:strVal val="visible"/>
                                      </p:to>
                                    </p:set>
                                    <p:animEffect transition="in" filter="dissolve">
                                      <p:cBhvr>
                                        <p:cTn id="15" dur="500"/>
                                        <p:tgtEl>
                                          <p:spTgt spid="37"/>
                                        </p:tgtEl>
                                      </p:cBhvr>
                                    </p:animEffect>
                                  </p:childTnLst>
                                </p:cTn>
                              </p:par>
                              <p:par>
                                <p:cTn id="16" presetID="9" presetClass="entr" presetSubtype="0" fill="hold" grpId="0" nodeType="withEffect">
                                  <p:stCondLst>
                                    <p:cond delay="0"/>
                                  </p:stCondLst>
                                  <p:childTnLst>
                                    <p:set>
                                      <p:cBhvr>
                                        <p:cTn id="17" dur="1" fill="hold">
                                          <p:stCondLst>
                                            <p:cond delay="0"/>
                                          </p:stCondLst>
                                        </p:cTn>
                                        <p:tgtEl>
                                          <p:spTgt spid="38"/>
                                        </p:tgtEl>
                                        <p:attrNameLst>
                                          <p:attrName>style.visibility</p:attrName>
                                        </p:attrNameLst>
                                      </p:cBhvr>
                                      <p:to>
                                        <p:strVal val="visible"/>
                                      </p:to>
                                    </p:set>
                                    <p:animEffect transition="in" filter="dissolve">
                                      <p:cBhvr>
                                        <p:cTn id="18" dur="500"/>
                                        <p:tgtEl>
                                          <p:spTgt spid="38"/>
                                        </p:tgtEl>
                                      </p:cBhvr>
                                    </p:animEffect>
                                  </p:childTnLst>
                                </p:cTn>
                              </p:par>
                              <p:par>
                                <p:cTn id="19" presetID="9" presetClass="entr" presetSubtype="0" fill="hold" grpId="0" nodeType="withEffect">
                                  <p:stCondLst>
                                    <p:cond delay="0"/>
                                  </p:stCondLst>
                                  <p:childTnLst>
                                    <p:set>
                                      <p:cBhvr>
                                        <p:cTn id="20" dur="1" fill="hold">
                                          <p:stCondLst>
                                            <p:cond delay="0"/>
                                          </p:stCondLst>
                                        </p:cTn>
                                        <p:tgtEl>
                                          <p:spTgt spid="20"/>
                                        </p:tgtEl>
                                        <p:attrNameLst>
                                          <p:attrName>style.visibility</p:attrName>
                                        </p:attrNameLst>
                                      </p:cBhvr>
                                      <p:to>
                                        <p:strVal val="visible"/>
                                      </p:to>
                                    </p:set>
                                    <p:animEffect transition="in" filter="dissolve">
                                      <p:cBhvr>
                                        <p:cTn id="21" dur="500"/>
                                        <p:tgtEl>
                                          <p:spTgt spid="20"/>
                                        </p:tgtEl>
                                      </p:cBhvr>
                                    </p:animEffect>
                                  </p:childTnLst>
                                </p:cTn>
                              </p:par>
                              <p:par>
                                <p:cTn id="22" presetID="9" presetClass="entr" presetSubtype="0" fill="hold" grpId="0" nodeType="withEffect">
                                  <p:stCondLst>
                                    <p:cond delay="0"/>
                                  </p:stCondLst>
                                  <p:childTnLst>
                                    <p:set>
                                      <p:cBhvr>
                                        <p:cTn id="23" dur="1" fill="hold">
                                          <p:stCondLst>
                                            <p:cond delay="0"/>
                                          </p:stCondLst>
                                        </p:cTn>
                                        <p:tgtEl>
                                          <p:spTgt spid="30"/>
                                        </p:tgtEl>
                                        <p:attrNameLst>
                                          <p:attrName>style.visibility</p:attrName>
                                        </p:attrNameLst>
                                      </p:cBhvr>
                                      <p:to>
                                        <p:strVal val="visible"/>
                                      </p:to>
                                    </p:set>
                                    <p:animEffect transition="in" filter="dissolve">
                                      <p:cBhvr>
                                        <p:cTn id="24" dur="500"/>
                                        <p:tgtEl>
                                          <p:spTgt spid="30"/>
                                        </p:tgtEl>
                                      </p:cBhvr>
                                    </p:animEffect>
                                  </p:childTnLst>
                                </p:cTn>
                              </p:par>
                              <p:par>
                                <p:cTn id="25" presetID="9" presetClass="entr" presetSubtype="0" fill="hold" grpId="0" nodeType="withEffect">
                                  <p:stCondLst>
                                    <p:cond delay="0"/>
                                  </p:stCondLst>
                                  <p:childTnLst>
                                    <p:set>
                                      <p:cBhvr>
                                        <p:cTn id="26" dur="1" fill="hold">
                                          <p:stCondLst>
                                            <p:cond delay="0"/>
                                          </p:stCondLst>
                                        </p:cTn>
                                        <p:tgtEl>
                                          <p:spTgt spid="36"/>
                                        </p:tgtEl>
                                        <p:attrNameLst>
                                          <p:attrName>style.visibility</p:attrName>
                                        </p:attrNameLst>
                                      </p:cBhvr>
                                      <p:to>
                                        <p:strVal val="visible"/>
                                      </p:to>
                                    </p:set>
                                    <p:animEffect transition="in" filter="dissolve">
                                      <p:cBhvr>
                                        <p:cTn id="27" dur="500"/>
                                        <p:tgtEl>
                                          <p:spTgt spid="36"/>
                                        </p:tgtEl>
                                      </p:cBhvr>
                                    </p:animEffect>
                                  </p:childTnLst>
                                </p:cTn>
                              </p:par>
                              <p:par>
                                <p:cTn id="28" presetID="9" presetClass="entr" presetSubtype="0" fill="hold" grpId="0" nodeType="withEffect">
                                  <p:stCondLst>
                                    <p:cond delay="0"/>
                                  </p:stCondLst>
                                  <p:childTnLst>
                                    <p:set>
                                      <p:cBhvr>
                                        <p:cTn id="29" dur="1" fill="hold">
                                          <p:stCondLst>
                                            <p:cond delay="0"/>
                                          </p:stCondLst>
                                        </p:cTn>
                                        <p:tgtEl>
                                          <p:spTgt spid="21"/>
                                        </p:tgtEl>
                                        <p:attrNameLst>
                                          <p:attrName>style.visibility</p:attrName>
                                        </p:attrNameLst>
                                      </p:cBhvr>
                                      <p:to>
                                        <p:strVal val="visible"/>
                                      </p:to>
                                    </p:set>
                                    <p:animEffect transition="in" filter="dissolve">
                                      <p:cBhvr>
                                        <p:cTn id="30" dur="500"/>
                                        <p:tgtEl>
                                          <p:spTgt spid="21"/>
                                        </p:tgtEl>
                                      </p:cBhvr>
                                    </p:animEffect>
                                  </p:childTnLst>
                                </p:cTn>
                              </p:par>
                              <p:par>
                                <p:cTn id="31" presetID="9" presetClass="entr" presetSubtype="0"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dissolve">
                                      <p:cBhvr>
                                        <p:cTn id="33"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0" grpId="0"/>
      <p:bldP spid="21" grpId="0"/>
      <p:bldP spid="25" grpId="0" animBg="1"/>
      <p:bldP spid="27" grpId="0" animBg="1"/>
      <p:bldP spid="30" grpId="0"/>
      <p:bldP spid="36" grpId="0"/>
      <p:bldP spid="37" grpId="0"/>
      <p:bldP spid="38"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Immagine 51">
            <a:extLst>
              <a:ext uri="{FF2B5EF4-FFF2-40B4-BE49-F238E27FC236}">
                <a16:creationId xmlns:a16="http://schemas.microsoft.com/office/drawing/2014/main" id="{EEA44952-A880-D046-B9F7-336A650945A4}"/>
              </a:ext>
            </a:extLst>
          </p:cNvPr>
          <p:cNvPicPr>
            <a:picLocks noChangeAspect="1"/>
          </p:cNvPicPr>
          <p:nvPr/>
        </p:nvPicPr>
        <p:blipFill>
          <a:blip r:embed="rId3">
            <a:duotone>
              <a:schemeClr val="accent6">
                <a:shade val="45000"/>
                <a:satMod val="135000"/>
              </a:schemeClr>
              <a:prstClr val="white"/>
            </a:duotone>
            <a:alphaModFix amt="30000"/>
            <a:extLst>
              <a:ext uri="{BEBA8EAE-BF5A-486C-A8C5-ECC9F3942E4B}">
                <a14:imgProps xmlns:a14="http://schemas.microsoft.com/office/drawing/2010/main">
                  <a14:imgLayer r:embed="rId4">
                    <a14:imgEffect>
                      <a14:colorTemperature colorTemp="1500"/>
                    </a14:imgEffect>
                    <a14:imgEffect>
                      <a14:saturation sat="0"/>
                    </a14:imgEffect>
                  </a14:imgLayer>
                </a14:imgProps>
              </a:ext>
            </a:extLst>
          </a:blip>
          <a:stretch>
            <a:fillRect/>
          </a:stretch>
        </p:blipFill>
        <p:spPr>
          <a:xfrm>
            <a:off x="0" y="0"/>
            <a:ext cx="12199171" cy="6858000"/>
          </a:xfrm>
          <a:prstGeom prst="rect">
            <a:avLst/>
          </a:prstGeom>
          <a:solidFill>
            <a:srgbClr val="FFFFFF"/>
          </a:solidFill>
          <a:ln>
            <a:solidFill>
              <a:schemeClr val="bg1"/>
            </a:solidFill>
          </a:ln>
        </p:spPr>
      </p:pic>
      <p:sp>
        <p:nvSpPr>
          <p:cNvPr id="132097" name="Titolo 14">
            <a:extLst>
              <a:ext uri="{FF2B5EF4-FFF2-40B4-BE49-F238E27FC236}">
                <a16:creationId xmlns:a16="http://schemas.microsoft.com/office/drawing/2014/main" id="{CE723A67-E476-7846-A8E0-B0CE961226BF}"/>
              </a:ext>
            </a:extLst>
          </p:cNvPr>
          <p:cNvSpPr>
            <a:spLocks noChangeArrowheads="1"/>
          </p:cNvSpPr>
          <p:nvPr/>
        </p:nvSpPr>
        <p:spPr bwMode="auto">
          <a:xfrm>
            <a:off x="302034" y="-19096"/>
            <a:ext cx="11606981" cy="930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r>
              <a:rPr lang="it-IT" altLang="it-IT" dirty="0">
                <a:solidFill>
                  <a:srgbClr val="000000"/>
                </a:solidFill>
                <a:latin typeface="+mn-lt"/>
                <a:ea typeface="ＭＳ Ｐゴシック" panose="020B0600070205080204" pitchFamily="34" charset="-128"/>
                <a:cs typeface="Arial" panose="020B0604020202020204" pitchFamily="34" charset="0"/>
              </a:rPr>
              <a:t>RISPETTO (E REVISIONE) DEI VINCOLI FINANZIARI ATTRAVERSO IL MIGLIORAMENTO DEGLI INDICATORI DI APPROPRIATEZZA PRESCRITTIVA ED ADERENZA AL TRATTAMENTO</a:t>
            </a:r>
            <a:endParaRPr lang="it-IT" altLang="it-IT" i="1" dirty="0">
              <a:solidFill>
                <a:srgbClr val="000000"/>
              </a:solidFill>
              <a:latin typeface="+mn-lt"/>
              <a:ea typeface="ＭＳ Ｐゴシック" panose="020B0600070205080204" pitchFamily="34" charset="-128"/>
              <a:cs typeface="Arial" panose="020B0604020202020204" pitchFamily="34" charset="0"/>
            </a:endParaRPr>
          </a:p>
        </p:txBody>
      </p:sp>
      <p:sp>
        <p:nvSpPr>
          <p:cNvPr id="3" name="Freccia a destra 6">
            <a:extLst>
              <a:ext uri="{FF2B5EF4-FFF2-40B4-BE49-F238E27FC236}">
                <a16:creationId xmlns:a16="http://schemas.microsoft.com/office/drawing/2014/main" id="{8BB9BF4D-F28E-3E4E-A8D7-F3AAD7A5650D}"/>
              </a:ext>
            </a:extLst>
          </p:cNvPr>
          <p:cNvSpPr>
            <a:spLocks/>
          </p:cNvSpPr>
          <p:nvPr/>
        </p:nvSpPr>
        <p:spPr bwMode="auto">
          <a:xfrm rot="16200004">
            <a:off x="3304382" y="1499394"/>
            <a:ext cx="4303712" cy="4546600"/>
          </a:xfrm>
          <a:custGeom>
            <a:avLst/>
            <a:gdLst>
              <a:gd name="T0" fmla="*/ 428748940 w 21600"/>
              <a:gd name="T1" fmla="*/ 0 h 21600"/>
              <a:gd name="T2" fmla="*/ 857497680 w 21600"/>
              <a:gd name="T3" fmla="*/ 478508390 h 21600"/>
              <a:gd name="T4" fmla="*/ 428748940 w 21600"/>
              <a:gd name="T5" fmla="*/ 957016570 h 21600"/>
              <a:gd name="T6" fmla="*/ 0 w 21600"/>
              <a:gd name="T7" fmla="*/ 478508390 h 21600"/>
              <a:gd name="T8" fmla="*/ 756225559 w 21600"/>
              <a:gd name="T9" fmla="*/ 0 h 21600"/>
              <a:gd name="T10" fmla="*/ 756225559 w 21600"/>
              <a:gd name="T11" fmla="*/ 957016570 h 21600"/>
              <a:gd name="T12" fmla="*/ 17694720 60000 65536"/>
              <a:gd name="T13" fmla="*/ 0 60000 65536"/>
              <a:gd name="T14" fmla="*/ 5898240 60000 65536"/>
              <a:gd name="T15" fmla="*/ 11796480 60000 65536"/>
              <a:gd name="T16" fmla="*/ 17694720 60000 65536"/>
              <a:gd name="T17" fmla="*/ 5898240 60000 65536"/>
              <a:gd name="T18" fmla="*/ 0 w 21600"/>
              <a:gd name="T19" fmla="*/ 0 h 21600"/>
              <a:gd name="T20" fmla="*/ 19049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0" y="0"/>
                </a:moveTo>
                <a:lnTo>
                  <a:pt x="19049" y="0"/>
                </a:lnTo>
                <a:lnTo>
                  <a:pt x="21600" y="10800"/>
                </a:lnTo>
                <a:lnTo>
                  <a:pt x="19049" y="21600"/>
                </a:lnTo>
                <a:lnTo>
                  <a:pt x="0" y="21600"/>
                </a:lnTo>
                <a:lnTo>
                  <a:pt x="0" y="0"/>
                </a:lnTo>
                <a:close/>
              </a:path>
            </a:pathLst>
          </a:custGeom>
          <a:solidFill>
            <a:srgbClr val="D6D6D6"/>
          </a:solidFill>
          <a:ln>
            <a:noFill/>
          </a:ln>
          <a:extLst>
            <a:ext uri="{91240B29-F687-4F45-9708-019B960494DF}">
              <a14:hiddenLine xmlns:a14="http://schemas.microsoft.com/office/drawing/2010/main" w="9525" cap="flat">
                <a:solidFill>
                  <a:srgbClr val="000000"/>
                </a:solidFill>
                <a:prstDash val="solid"/>
                <a:round/>
                <a:headEnd/>
                <a:tailEnd/>
              </a14:hiddenLine>
            </a:ext>
          </a:extLst>
        </p:spPr>
        <p:txBody>
          <a:bodyPr anchor="ctr" anchorCtr="1"/>
          <a:lstStyle/>
          <a:p>
            <a:endParaRPr lang="it-IT"/>
          </a:p>
        </p:txBody>
      </p:sp>
      <p:sp>
        <p:nvSpPr>
          <p:cNvPr id="4" name="Freccia a destra 62">
            <a:extLst>
              <a:ext uri="{FF2B5EF4-FFF2-40B4-BE49-F238E27FC236}">
                <a16:creationId xmlns:a16="http://schemas.microsoft.com/office/drawing/2014/main" id="{188728C7-74F1-064F-AE19-76AB17C2B627}"/>
              </a:ext>
            </a:extLst>
          </p:cNvPr>
          <p:cNvSpPr>
            <a:spLocks/>
          </p:cNvSpPr>
          <p:nvPr/>
        </p:nvSpPr>
        <p:spPr bwMode="auto">
          <a:xfrm>
            <a:off x="3182938" y="3781426"/>
            <a:ext cx="6157912" cy="2143125"/>
          </a:xfrm>
          <a:custGeom>
            <a:avLst/>
            <a:gdLst>
              <a:gd name="T0" fmla="*/ 877774434 w 21600"/>
              <a:gd name="T1" fmla="*/ 0 h 21600"/>
              <a:gd name="T2" fmla="*/ 1755548584 w 21600"/>
              <a:gd name="T3" fmla="*/ 106319141 h 21600"/>
              <a:gd name="T4" fmla="*/ 877774434 w 21600"/>
              <a:gd name="T5" fmla="*/ 212638184 h 21600"/>
              <a:gd name="T6" fmla="*/ 0 w 21600"/>
              <a:gd name="T7" fmla="*/ 106319141 h 21600"/>
              <a:gd name="T8" fmla="*/ 1596980354 w 21600"/>
              <a:gd name="T9" fmla="*/ 0 h 21600"/>
              <a:gd name="T10" fmla="*/ 1596980354 w 21600"/>
              <a:gd name="T11" fmla="*/ 212638184 h 21600"/>
              <a:gd name="T12" fmla="*/ 17694720 60000 65536"/>
              <a:gd name="T13" fmla="*/ 0 60000 65536"/>
              <a:gd name="T14" fmla="*/ 5898240 60000 65536"/>
              <a:gd name="T15" fmla="*/ 11796480 60000 65536"/>
              <a:gd name="T16" fmla="*/ 17694720 60000 65536"/>
              <a:gd name="T17" fmla="*/ 5898240 60000 65536"/>
              <a:gd name="T18" fmla="*/ 0 w 21600"/>
              <a:gd name="T19" fmla="*/ 0 h 21600"/>
              <a:gd name="T20" fmla="*/ 19649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0" y="0"/>
                </a:moveTo>
                <a:lnTo>
                  <a:pt x="19649" y="0"/>
                </a:lnTo>
                <a:lnTo>
                  <a:pt x="21600" y="10800"/>
                </a:lnTo>
                <a:lnTo>
                  <a:pt x="19649" y="21600"/>
                </a:lnTo>
                <a:lnTo>
                  <a:pt x="0" y="21600"/>
                </a:lnTo>
                <a:lnTo>
                  <a:pt x="0" y="0"/>
                </a:lnTo>
                <a:close/>
              </a:path>
            </a:pathLst>
          </a:custGeom>
          <a:solidFill>
            <a:srgbClr val="D6D6D6"/>
          </a:solidFill>
          <a:ln>
            <a:noFill/>
          </a:ln>
          <a:extLst>
            <a:ext uri="{91240B29-F687-4F45-9708-019B960494DF}">
              <a14:hiddenLine xmlns:a14="http://schemas.microsoft.com/office/drawing/2010/main" w="9525" cap="flat">
                <a:solidFill>
                  <a:srgbClr val="000000"/>
                </a:solidFill>
                <a:prstDash val="solid"/>
                <a:round/>
                <a:headEnd/>
                <a:tailEnd/>
              </a14:hiddenLine>
            </a:ext>
          </a:extLst>
        </p:spPr>
        <p:txBody>
          <a:bodyPr anchor="ctr" anchorCtr="1"/>
          <a:lstStyle/>
          <a:p>
            <a:endParaRPr lang="it-IT"/>
          </a:p>
        </p:txBody>
      </p:sp>
      <p:sp>
        <p:nvSpPr>
          <p:cNvPr id="5" name="Freccia su 57">
            <a:extLst>
              <a:ext uri="{FF2B5EF4-FFF2-40B4-BE49-F238E27FC236}">
                <a16:creationId xmlns:a16="http://schemas.microsoft.com/office/drawing/2014/main" id="{2E684C62-7921-DF40-9A9C-BE032FA3A899}"/>
              </a:ext>
            </a:extLst>
          </p:cNvPr>
          <p:cNvSpPr>
            <a:spLocks/>
          </p:cNvSpPr>
          <p:nvPr/>
        </p:nvSpPr>
        <p:spPr bwMode="auto">
          <a:xfrm rot="5400013">
            <a:off x="5480844" y="1659732"/>
            <a:ext cx="1103313" cy="6356350"/>
          </a:xfrm>
          <a:custGeom>
            <a:avLst/>
            <a:gdLst>
              <a:gd name="T0" fmla="*/ 28178308 w 21600"/>
              <a:gd name="T1" fmla="*/ 0 h 21600"/>
              <a:gd name="T2" fmla="*/ 56356564 w 21600"/>
              <a:gd name="T3" fmla="*/ 935259214 h 21600"/>
              <a:gd name="T4" fmla="*/ 28178308 w 21600"/>
              <a:gd name="T5" fmla="*/ 1870518133 h 21600"/>
              <a:gd name="T6" fmla="*/ 0 w 21600"/>
              <a:gd name="T7" fmla="*/ 935259214 h 21600"/>
              <a:gd name="T8" fmla="*/ 0 w 21600"/>
              <a:gd name="T9" fmla="*/ 162284678 h 21600"/>
              <a:gd name="T10" fmla="*/ 56356564 w 21600"/>
              <a:gd name="T11" fmla="*/ 162284678 h 21600"/>
              <a:gd name="T12" fmla="*/ 17694720 60000 65536"/>
              <a:gd name="T13" fmla="*/ 0 60000 65536"/>
              <a:gd name="T14" fmla="*/ 5898240 60000 65536"/>
              <a:gd name="T15" fmla="*/ 11796480 60000 65536"/>
              <a:gd name="T16" fmla="*/ 11796480 60000 65536"/>
              <a:gd name="T17" fmla="*/ 0 60000 65536"/>
              <a:gd name="T18" fmla="*/ 0 w 21600"/>
              <a:gd name="T19" fmla="*/ 1874 h 21600"/>
              <a:gd name="T20" fmla="*/ 21600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0" y="21600"/>
                </a:moveTo>
                <a:lnTo>
                  <a:pt x="0" y="1874"/>
                </a:lnTo>
                <a:lnTo>
                  <a:pt x="10800" y="0"/>
                </a:lnTo>
                <a:lnTo>
                  <a:pt x="21600" y="1874"/>
                </a:lnTo>
                <a:lnTo>
                  <a:pt x="21600" y="21600"/>
                </a:lnTo>
                <a:lnTo>
                  <a:pt x="0" y="21600"/>
                </a:lnTo>
                <a:close/>
              </a:path>
            </a:pathLst>
          </a:custGeom>
          <a:solidFill>
            <a:srgbClr val="595959"/>
          </a:solidFill>
          <a:ln>
            <a:noFill/>
          </a:ln>
          <a:extLst>
            <a:ext uri="{91240B29-F687-4F45-9708-019B960494DF}">
              <a14:hiddenLine xmlns:a14="http://schemas.microsoft.com/office/drawing/2010/main" w="9525" cap="flat">
                <a:solidFill>
                  <a:srgbClr val="000000"/>
                </a:solidFill>
                <a:prstDash val="solid"/>
                <a:round/>
                <a:headEnd/>
                <a:tailEnd/>
              </a14:hiddenLine>
            </a:ext>
          </a:extLst>
        </p:spPr>
        <p:txBody>
          <a:bodyPr vert="eaVert" anchor="ctr" anchorCtr="1"/>
          <a:lstStyle/>
          <a:p>
            <a:endParaRPr lang="it-IT"/>
          </a:p>
        </p:txBody>
      </p:sp>
      <p:sp>
        <p:nvSpPr>
          <p:cNvPr id="6" name="CasellaDiTesto 43">
            <a:extLst>
              <a:ext uri="{FF2B5EF4-FFF2-40B4-BE49-F238E27FC236}">
                <a16:creationId xmlns:a16="http://schemas.microsoft.com/office/drawing/2014/main" id="{444BD2D5-662C-0244-866E-DFAB68CC6924}"/>
              </a:ext>
            </a:extLst>
          </p:cNvPr>
          <p:cNvSpPr txBox="1">
            <a:spLocks noChangeArrowheads="1"/>
          </p:cNvSpPr>
          <p:nvPr/>
        </p:nvSpPr>
        <p:spPr bwMode="auto">
          <a:xfrm>
            <a:off x="3617913" y="908051"/>
            <a:ext cx="367665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r>
              <a:rPr lang="it-IT" altLang="it-IT" sz="2000" b="1" u="sng">
                <a:solidFill>
                  <a:srgbClr val="000000"/>
                </a:solidFill>
                <a:latin typeface="+mn-lt"/>
                <a:ea typeface="ＭＳ Ｐゴシック" panose="020B0600070205080204" pitchFamily="34" charset="-128"/>
                <a:cs typeface="Arial" panose="020B0604020202020204" pitchFamily="34" charset="0"/>
              </a:rPr>
              <a:t>GESTIONE</a:t>
            </a:r>
          </a:p>
          <a:p>
            <a:pPr algn="ctr" eaLnBrk="1"/>
            <a:r>
              <a:rPr lang="it-IT" altLang="it-IT" sz="2000" b="1" u="sng">
                <a:solidFill>
                  <a:srgbClr val="000000"/>
                </a:solidFill>
                <a:latin typeface="+mn-lt"/>
                <a:ea typeface="ＭＳ Ｐゴシック" panose="020B0600070205080204" pitchFamily="34" charset="-128"/>
                <a:cs typeface="Arial" panose="020B0604020202020204" pitchFamily="34" charset="0"/>
              </a:rPr>
              <a:t>ECONOMICA</a:t>
            </a:r>
          </a:p>
        </p:txBody>
      </p:sp>
      <p:sp>
        <p:nvSpPr>
          <p:cNvPr id="7" name="CasellaDiTesto 48">
            <a:extLst>
              <a:ext uri="{FF2B5EF4-FFF2-40B4-BE49-F238E27FC236}">
                <a16:creationId xmlns:a16="http://schemas.microsoft.com/office/drawing/2014/main" id="{C1F6ADAE-2F90-054F-9F96-295013552992}"/>
              </a:ext>
            </a:extLst>
          </p:cNvPr>
          <p:cNvSpPr txBox="1">
            <a:spLocks noChangeArrowheads="1"/>
          </p:cNvSpPr>
          <p:nvPr/>
        </p:nvSpPr>
        <p:spPr bwMode="auto">
          <a:xfrm>
            <a:off x="9350374" y="4502220"/>
            <a:ext cx="1629099"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chorCtr="1">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r>
              <a:rPr lang="it-IT" altLang="it-IT" sz="2000" b="1" u="sng" dirty="0">
                <a:solidFill>
                  <a:srgbClr val="000000"/>
                </a:solidFill>
                <a:latin typeface="+mn-lt"/>
                <a:ea typeface="ＭＳ Ｐゴシック" panose="020B0600070205080204" pitchFamily="34" charset="-128"/>
                <a:cs typeface="Arial" panose="020B0604020202020204" pitchFamily="34" charset="0"/>
              </a:rPr>
              <a:t>GESTIONE CLINICA</a:t>
            </a:r>
          </a:p>
        </p:txBody>
      </p:sp>
      <p:sp>
        <p:nvSpPr>
          <p:cNvPr id="8" name="CasellaDiTesto 52">
            <a:extLst>
              <a:ext uri="{FF2B5EF4-FFF2-40B4-BE49-F238E27FC236}">
                <a16:creationId xmlns:a16="http://schemas.microsoft.com/office/drawing/2014/main" id="{CDA893BD-EFFB-D04B-B102-4FE9C8CA9F75}"/>
              </a:ext>
            </a:extLst>
          </p:cNvPr>
          <p:cNvSpPr txBox="1">
            <a:spLocks noChangeArrowheads="1"/>
          </p:cNvSpPr>
          <p:nvPr/>
        </p:nvSpPr>
        <p:spPr bwMode="auto">
          <a:xfrm>
            <a:off x="7593014" y="4551363"/>
            <a:ext cx="153987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r>
              <a:rPr lang="it-IT" altLang="it-IT" sz="1600" b="1" i="1" dirty="0">
                <a:solidFill>
                  <a:schemeClr val="accent1"/>
                </a:solidFill>
                <a:latin typeface="+mn-lt"/>
                <a:ea typeface="ＭＳ Ｐゴシック" panose="020B0600070205080204" pitchFamily="34" charset="-128"/>
                <a:cs typeface="Arial" panose="020B0604020202020204" pitchFamily="34" charset="0"/>
              </a:rPr>
              <a:t>Indicatori</a:t>
            </a:r>
          </a:p>
          <a:p>
            <a:pPr algn="ctr" eaLnBrk="1"/>
            <a:r>
              <a:rPr lang="it-IT" altLang="it-IT" sz="1600" b="1" i="1" dirty="0">
                <a:solidFill>
                  <a:schemeClr val="accent1"/>
                </a:solidFill>
                <a:latin typeface="+mn-lt"/>
                <a:ea typeface="ＭＳ Ｐゴシック" panose="020B0600070205080204" pitchFamily="34" charset="-128"/>
                <a:cs typeface="Arial" panose="020B0604020202020204" pitchFamily="34" charset="0"/>
              </a:rPr>
              <a:t>di esito</a:t>
            </a:r>
          </a:p>
        </p:txBody>
      </p:sp>
      <p:sp>
        <p:nvSpPr>
          <p:cNvPr id="9" name="Rettangolo 61">
            <a:extLst>
              <a:ext uri="{FF2B5EF4-FFF2-40B4-BE49-F238E27FC236}">
                <a16:creationId xmlns:a16="http://schemas.microsoft.com/office/drawing/2014/main" id="{E3416E76-4DA9-F943-8483-601645414B4B}"/>
              </a:ext>
            </a:extLst>
          </p:cNvPr>
          <p:cNvSpPr>
            <a:spLocks noChangeArrowheads="1"/>
          </p:cNvSpPr>
          <p:nvPr/>
        </p:nvSpPr>
        <p:spPr bwMode="auto">
          <a:xfrm>
            <a:off x="3403600" y="2270125"/>
            <a:ext cx="4090988" cy="863600"/>
          </a:xfrm>
          <a:prstGeom prst="rect">
            <a:avLst/>
          </a:prstGeom>
          <a:solidFill>
            <a:srgbClr val="00B0F0"/>
          </a:solidFill>
          <a:ln w="12701">
            <a:solidFill>
              <a:srgbClr val="000000"/>
            </a:solidFill>
            <a:miter lim="800000"/>
            <a:headEnd/>
            <a:tailEnd/>
          </a:ln>
        </p:spPr>
        <p:txBody>
          <a:bodyPr anchor="ctr" anchorCtr="1"/>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endParaRPr lang="it-IT" altLang="it-IT">
              <a:solidFill>
                <a:srgbClr val="000000"/>
              </a:solidFill>
              <a:ea typeface="ＭＳ Ｐゴシック" panose="020B0600070205080204" pitchFamily="34" charset="-128"/>
              <a:cs typeface="Arial" panose="020B0604020202020204" pitchFamily="34" charset="0"/>
            </a:endParaRPr>
          </a:p>
        </p:txBody>
      </p:sp>
      <p:sp>
        <p:nvSpPr>
          <p:cNvPr id="132105" name="CasellaDiTesto 2">
            <a:extLst>
              <a:ext uri="{FF2B5EF4-FFF2-40B4-BE49-F238E27FC236}">
                <a16:creationId xmlns:a16="http://schemas.microsoft.com/office/drawing/2014/main" id="{654DFAD6-577D-344D-8BD2-73F607266A78}"/>
              </a:ext>
            </a:extLst>
          </p:cNvPr>
          <p:cNvSpPr txBox="1">
            <a:spLocks noChangeArrowheads="1"/>
          </p:cNvSpPr>
          <p:nvPr/>
        </p:nvSpPr>
        <p:spPr bwMode="auto">
          <a:xfrm>
            <a:off x="3617913" y="2439989"/>
            <a:ext cx="367665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r>
              <a:rPr lang="it-IT" altLang="it-IT" sz="2800" b="1">
                <a:solidFill>
                  <a:srgbClr val="FFFFFF"/>
                </a:solidFill>
                <a:latin typeface="+mn-lt"/>
                <a:ea typeface="ＭＳ Ｐゴシック" panose="020B0600070205080204" pitchFamily="34" charset="-128"/>
                <a:cs typeface="Arial" panose="020B0604020202020204" pitchFamily="34" charset="0"/>
              </a:rPr>
              <a:t>Pro Capite</a:t>
            </a:r>
          </a:p>
        </p:txBody>
      </p:sp>
      <p:grpSp>
        <p:nvGrpSpPr>
          <p:cNvPr id="11" name="Gruppo 63">
            <a:extLst>
              <a:ext uri="{FF2B5EF4-FFF2-40B4-BE49-F238E27FC236}">
                <a16:creationId xmlns:a16="http://schemas.microsoft.com/office/drawing/2014/main" id="{95ADD66D-1C4A-7E45-921E-56618B3D5697}"/>
              </a:ext>
            </a:extLst>
          </p:cNvPr>
          <p:cNvGrpSpPr>
            <a:grpSpLocks/>
          </p:cNvGrpSpPr>
          <p:nvPr/>
        </p:nvGrpSpPr>
        <p:grpSpPr bwMode="auto">
          <a:xfrm>
            <a:off x="3403600" y="2946401"/>
            <a:ext cx="4090988" cy="1050925"/>
            <a:chOff x="1879604" y="2946397"/>
            <a:chExt cx="4090989" cy="1050919"/>
          </a:xfrm>
        </p:grpSpPr>
        <p:sp>
          <p:nvSpPr>
            <p:cNvPr id="132141" name="Rettangolo 64">
              <a:extLst>
                <a:ext uri="{FF2B5EF4-FFF2-40B4-BE49-F238E27FC236}">
                  <a16:creationId xmlns:a16="http://schemas.microsoft.com/office/drawing/2014/main" id="{E62DF63D-08E8-A649-B1E7-287698174EBC}"/>
                </a:ext>
              </a:extLst>
            </p:cNvPr>
            <p:cNvSpPr>
              <a:spLocks noChangeArrowheads="1"/>
            </p:cNvSpPr>
            <p:nvPr/>
          </p:nvSpPr>
          <p:spPr bwMode="auto">
            <a:xfrm>
              <a:off x="1879604" y="3133721"/>
              <a:ext cx="2052635" cy="863595"/>
            </a:xfrm>
            <a:prstGeom prst="rect">
              <a:avLst/>
            </a:prstGeom>
            <a:solidFill>
              <a:srgbClr val="00B050"/>
            </a:solidFill>
            <a:ln w="12701">
              <a:solidFill>
                <a:srgbClr val="000000"/>
              </a:solidFill>
              <a:miter lim="800000"/>
              <a:headEnd/>
              <a:tailEnd/>
            </a:ln>
          </p:spPr>
          <p:txBody>
            <a:bodyPr anchor="ctr" anchorCtr="1"/>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endParaRPr lang="it-IT" altLang="it-IT">
                <a:solidFill>
                  <a:srgbClr val="000000"/>
                </a:solidFill>
                <a:latin typeface="+mn-lt"/>
                <a:ea typeface="ＭＳ Ｐゴシック" panose="020B0600070205080204" pitchFamily="34" charset="-128"/>
                <a:cs typeface="Arial" panose="020B0604020202020204" pitchFamily="34" charset="0"/>
              </a:endParaRPr>
            </a:p>
          </p:txBody>
        </p:sp>
        <p:sp>
          <p:nvSpPr>
            <p:cNvPr id="132142" name="CasellaDiTesto 8">
              <a:extLst>
                <a:ext uri="{FF2B5EF4-FFF2-40B4-BE49-F238E27FC236}">
                  <a16:creationId xmlns:a16="http://schemas.microsoft.com/office/drawing/2014/main" id="{1324E725-0460-9544-A661-C3164CAE3E4D}"/>
                </a:ext>
              </a:extLst>
            </p:cNvPr>
            <p:cNvSpPr txBox="1">
              <a:spLocks noChangeArrowheads="1"/>
            </p:cNvSpPr>
            <p:nvPr/>
          </p:nvSpPr>
          <p:spPr bwMode="auto">
            <a:xfrm>
              <a:off x="2074865" y="3365504"/>
              <a:ext cx="1666878"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r>
                <a:rPr lang="it-IT" altLang="it-IT" sz="2000" b="1">
                  <a:solidFill>
                    <a:srgbClr val="FFFFFF"/>
                  </a:solidFill>
                  <a:latin typeface="+mn-lt"/>
                  <a:ea typeface="ＭＳ Ｐゴシック" panose="020B0600070205080204" pitchFamily="34" charset="-128"/>
                  <a:cs typeface="Arial" panose="020B0604020202020204" pitchFamily="34" charset="0"/>
                </a:rPr>
                <a:t>Dosi (DDD)</a:t>
              </a:r>
            </a:p>
          </p:txBody>
        </p:sp>
        <p:sp>
          <p:nvSpPr>
            <p:cNvPr id="132143" name="Rettangolo 66">
              <a:extLst>
                <a:ext uri="{FF2B5EF4-FFF2-40B4-BE49-F238E27FC236}">
                  <a16:creationId xmlns:a16="http://schemas.microsoft.com/office/drawing/2014/main" id="{798471CD-FAA2-FD49-98DA-9E5EB3932EEE}"/>
                </a:ext>
              </a:extLst>
            </p:cNvPr>
            <p:cNvSpPr>
              <a:spLocks noChangeArrowheads="1"/>
            </p:cNvSpPr>
            <p:nvPr/>
          </p:nvSpPr>
          <p:spPr bwMode="auto">
            <a:xfrm>
              <a:off x="3932240" y="3133721"/>
              <a:ext cx="2038353" cy="863595"/>
            </a:xfrm>
            <a:prstGeom prst="rect">
              <a:avLst/>
            </a:prstGeom>
            <a:solidFill>
              <a:srgbClr val="00B050"/>
            </a:solidFill>
            <a:ln w="12701">
              <a:solidFill>
                <a:srgbClr val="000000"/>
              </a:solidFill>
              <a:miter lim="800000"/>
              <a:headEnd/>
              <a:tailEnd/>
            </a:ln>
          </p:spPr>
          <p:txBody>
            <a:bodyPr anchor="ctr" anchorCtr="1"/>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endParaRPr lang="it-IT" altLang="it-IT">
                <a:solidFill>
                  <a:srgbClr val="000000"/>
                </a:solidFill>
                <a:latin typeface="+mn-lt"/>
                <a:ea typeface="ＭＳ Ｐゴシック" panose="020B0600070205080204" pitchFamily="34" charset="-128"/>
                <a:cs typeface="Arial" panose="020B0604020202020204" pitchFamily="34" charset="0"/>
              </a:endParaRPr>
            </a:p>
          </p:txBody>
        </p:sp>
        <p:sp>
          <p:nvSpPr>
            <p:cNvPr id="132144" name="CasellaDiTesto 11">
              <a:extLst>
                <a:ext uri="{FF2B5EF4-FFF2-40B4-BE49-F238E27FC236}">
                  <a16:creationId xmlns:a16="http://schemas.microsoft.com/office/drawing/2014/main" id="{D0990E46-85C2-4243-989C-9317415327CA}"/>
                </a:ext>
              </a:extLst>
            </p:cNvPr>
            <p:cNvSpPr txBox="1">
              <a:spLocks noChangeArrowheads="1"/>
            </p:cNvSpPr>
            <p:nvPr/>
          </p:nvSpPr>
          <p:spPr bwMode="auto">
            <a:xfrm>
              <a:off x="4125909" y="3202060"/>
              <a:ext cx="1666878" cy="707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r>
                <a:rPr lang="it-IT" altLang="it-IT" sz="2000" b="1">
                  <a:solidFill>
                    <a:srgbClr val="FFFFFF"/>
                  </a:solidFill>
                  <a:latin typeface="+mn-lt"/>
                  <a:ea typeface="ＭＳ Ｐゴシック" panose="020B0600070205080204" pitchFamily="34" charset="-128"/>
                  <a:cs typeface="Arial" panose="020B0604020202020204" pitchFamily="34" charset="0"/>
                </a:rPr>
                <a:t>Mix (€/dose)</a:t>
              </a:r>
            </a:p>
          </p:txBody>
        </p:sp>
        <p:sp>
          <p:nvSpPr>
            <p:cNvPr id="132145" name="Freccia su 32">
              <a:extLst>
                <a:ext uri="{FF2B5EF4-FFF2-40B4-BE49-F238E27FC236}">
                  <a16:creationId xmlns:a16="http://schemas.microsoft.com/office/drawing/2014/main" id="{8F762D14-E55D-E44C-A50B-A26C03C06D7D}"/>
                </a:ext>
              </a:extLst>
            </p:cNvPr>
            <p:cNvSpPr>
              <a:spLocks/>
            </p:cNvSpPr>
            <p:nvPr/>
          </p:nvSpPr>
          <p:spPr bwMode="auto">
            <a:xfrm>
              <a:off x="2795585" y="2954334"/>
              <a:ext cx="215898" cy="250829"/>
            </a:xfrm>
            <a:custGeom>
              <a:avLst/>
              <a:gdLst>
                <a:gd name="T0" fmla="*/ 1078980 w 21600"/>
                <a:gd name="T1" fmla="*/ 0 h 21600"/>
                <a:gd name="T2" fmla="*/ 2157960 w 21600"/>
                <a:gd name="T3" fmla="*/ 1456376 h 21600"/>
                <a:gd name="T4" fmla="*/ 1078980 w 21600"/>
                <a:gd name="T5" fmla="*/ 2912740 h 21600"/>
                <a:gd name="T6" fmla="*/ 0 w 21600"/>
                <a:gd name="T7" fmla="*/ 1456376 h 21600"/>
                <a:gd name="T8" fmla="*/ 0 w 21600"/>
                <a:gd name="T9" fmla="*/ 1253553 h 21600"/>
                <a:gd name="T10" fmla="*/ 2157960 w 21600"/>
                <a:gd name="T11" fmla="*/ 1253553 h 21600"/>
                <a:gd name="T12" fmla="*/ 17694720 60000 65536"/>
                <a:gd name="T13" fmla="*/ 0 60000 65536"/>
                <a:gd name="T14" fmla="*/ 5898240 60000 65536"/>
                <a:gd name="T15" fmla="*/ 11796480 60000 65536"/>
                <a:gd name="T16" fmla="*/ 11796480 60000 65536"/>
                <a:gd name="T17" fmla="*/ 0 60000 65536"/>
                <a:gd name="T18" fmla="*/ 5400 w 21600"/>
                <a:gd name="T19" fmla="*/ 4648 h 21600"/>
                <a:gd name="T20" fmla="*/ 16200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5400" y="21600"/>
                  </a:moveTo>
                  <a:lnTo>
                    <a:pt x="5400" y="9296"/>
                  </a:lnTo>
                  <a:lnTo>
                    <a:pt x="0" y="9296"/>
                  </a:lnTo>
                  <a:lnTo>
                    <a:pt x="10800" y="0"/>
                  </a:lnTo>
                  <a:lnTo>
                    <a:pt x="21600" y="9296"/>
                  </a:lnTo>
                  <a:lnTo>
                    <a:pt x="16200" y="9296"/>
                  </a:lnTo>
                  <a:lnTo>
                    <a:pt x="16200" y="21600"/>
                  </a:lnTo>
                  <a:lnTo>
                    <a:pt x="5400" y="21600"/>
                  </a:lnTo>
                  <a:close/>
                </a:path>
              </a:pathLst>
            </a:custGeom>
            <a:solidFill>
              <a:srgbClr val="FFFFFF"/>
            </a:solidFill>
            <a:ln w="12701" cap="flat">
              <a:solidFill>
                <a:srgbClr val="000000"/>
              </a:solidFill>
              <a:prstDash val="solid"/>
              <a:miter lim="800000"/>
              <a:headEnd/>
              <a:tailEnd/>
            </a:ln>
          </p:spPr>
          <p:txBody>
            <a:bodyPr anchor="ctr" anchorCtr="1"/>
            <a:lstStyle/>
            <a:p>
              <a:endParaRPr lang="it-IT"/>
            </a:p>
          </p:txBody>
        </p:sp>
        <p:sp>
          <p:nvSpPr>
            <p:cNvPr id="132146" name="Freccia su 32">
              <a:extLst>
                <a:ext uri="{FF2B5EF4-FFF2-40B4-BE49-F238E27FC236}">
                  <a16:creationId xmlns:a16="http://schemas.microsoft.com/office/drawing/2014/main" id="{238E00B4-899F-5F40-89B8-323EDED13648}"/>
                </a:ext>
              </a:extLst>
            </p:cNvPr>
            <p:cNvSpPr>
              <a:spLocks/>
            </p:cNvSpPr>
            <p:nvPr/>
          </p:nvSpPr>
          <p:spPr bwMode="auto">
            <a:xfrm>
              <a:off x="4835520" y="2946397"/>
              <a:ext cx="215898" cy="252410"/>
            </a:xfrm>
            <a:custGeom>
              <a:avLst/>
              <a:gdLst>
                <a:gd name="T0" fmla="*/ 1078980 w 21600"/>
                <a:gd name="T1" fmla="*/ 0 h 21600"/>
                <a:gd name="T2" fmla="*/ 2157960 w 21600"/>
                <a:gd name="T3" fmla="*/ 1474787 h 21600"/>
                <a:gd name="T4" fmla="*/ 1078980 w 21600"/>
                <a:gd name="T5" fmla="*/ 2949574 h 21600"/>
                <a:gd name="T6" fmla="*/ 0 w 21600"/>
                <a:gd name="T7" fmla="*/ 1474787 h 21600"/>
                <a:gd name="T8" fmla="*/ 0 w 21600"/>
                <a:gd name="T9" fmla="*/ 1261489 h 21600"/>
                <a:gd name="T10" fmla="*/ 2157960 w 21600"/>
                <a:gd name="T11" fmla="*/ 1261489 h 21600"/>
                <a:gd name="T12" fmla="*/ 17694720 60000 65536"/>
                <a:gd name="T13" fmla="*/ 0 60000 65536"/>
                <a:gd name="T14" fmla="*/ 5898240 60000 65536"/>
                <a:gd name="T15" fmla="*/ 11796480 60000 65536"/>
                <a:gd name="T16" fmla="*/ 11796480 60000 65536"/>
                <a:gd name="T17" fmla="*/ 0 60000 65536"/>
                <a:gd name="T18" fmla="*/ 5400 w 21600"/>
                <a:gd name="T19" fmla="*/ 4619 h 21600"/>
                <a:gd name="T20" fmla="*/ 16200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5400" y="21600"/>
                  </a:moveTo>
                  <a:lnTo>
                    <a:pt x="5400" y="9238"/>
                  </a:lnTo>
                  <a:lnTo>
                    <a:pt x="0" y="9238"/>
                  </a:lnTo>
                  <a:lnTo>
                    <a:pt x="10800" y="0"/>
                  </a:lnTo>
                  <a:lnTo>
                    <a:pt x="21600" y="9238"/>
                  </a:lnTo>
                  <a:lnTo>
                    <a:pt x="16200" y="9238"/>
                  </a:lnTo>
                  <a:lnTo>
                    <a:pt x="16200" y="21600"/>
                  </a:lnTo>
                  <a:lnTo>
                    <a:pt x="5400" y="21600"/>
                  </a:lnTo>
                  <a:close/>
                </a:path>
              </a:pathLst>
            </a:custGeom>
            <a:solidFill>
              <a:srgbClr val="FFFFFF"/>
            </a:solidFill>
            <a:ln w="12701" cap="flat">
              <a:solidFill>
                <a:srgbClr val="000000"/>
              </a:solidFill>
              <a:prstDash val="solid"/>
              <a:miter lim="800000"/>
              <a:headEnd/>
              <a:tailEnd/>
            </a:ln>
          </p:spPr>
          <p:txBody>
            <a:bodyPr anchor="ctr" anchorCtr="1"/>
            <a:lstStyle/>
            <a:p>
              <a:endParaRPr lang="it-IT"/>
            </a:p>
          </p:txBody>
        </p:sp>
      </p:grpSp>
      <p:sp>
        <p:nvSpPr>
          <p:cNvPr id="18" name="Freccia su 32">
            <a:extLst>
              <a:ext uri="{FF2B5EF4-FFF2-40B4-BE49-F238E27FC236}">
                <a16:creationId xmlns:a16="http://schemas.microsoft.com/office/drawing/2014/main" id="{78764BF6-5FC2-E44A-A24C-E61B2CA879AD}"/>
              </a:ext>
            </a:extLst>
          </p:cNvPr>
          <p:cNvSpPr>
            <a:spLocks/>
          </p:cNvSpPr>
          <p:nvPr/>
        </p:nvSpPr>
        <p:spPr bwMode="auto">
          <a:xfrm>
            <a:off x="5348288" y="1909763"/>
            <a:ext cx="215900" cy="468312"/>
          </a:xfrm>
          <a:custGeom>
            <a:avLst/>
            <a:gdLst>
              <a:gd name="T0" fmla="*/ 1078990 w 21600"/>
              <a:gd name="T1" fmla="*/ 0 h 21600"/>
              <a:gd name="T2" fmla="*/ 2157980 w 21600"/>
              <a:gd name="T3" fmla="*/ 5076741 h 21600"/>
              <a:gd name="T4" fmla="*/ 1078990 w 21600"/>
              <a:gd name="T5" fmla="*/ 10153459 h 21600"/>
              <a:gd name="T6" fmla="*/ 0 w 21600"/>
              <a:gd name="T7" fmla="*/ 5076741 h 21600"/>
              <a:gd name="T8" fmla="*/ 0 w 21600"/>
              <a:gd name="T9" fmla="*/ 2340476 h 21600"/>
              <a:gd name="T10" fmla="*/ 2157980 w 21600"/>
              <a:gd name="T11" fmla="*/ 2340476 h 21600"/>
              <a:gd name="T12" fmla="*/ 17694720 60000 65536"/>
              <a:gd name="T13" fmla="*/ 0 60000 65536"/>
              <a:gd name="T14" fmla="*/ 5898240 60000 65536"/>
              <a:gd name="T15" fmla="*/ 11796480 60000 65536"/>
              <a:gd name="T16" fmla="*/ 11796480 60000 65536"/>
              <a:gd name="T17" fmla="*/ 0 60000 65536"/>
              <a:gd name="T18" fmla="*/ 5400 w 21600"/>
              <a:gd name="T19" fmla="*/ 2490 h 21600"/>
              <a:gd name="T20" fmla="*/ 16200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5400" y="21600"/>
                </a:moveTo>
                <a:lnTo>
                  <a:pt x="5400" y="4979"/>
                </a:lnTo>
                <a:lnTo>
                  <a:pt x="0" y="4979"/>
                </a:lnTo>
                <a:lnTo>
                  <a:pt x="10800" y="0"/>
                </a:lnTo>
                <a:lnTo>
                  <a:pt x="21600" y="4979"/>
                </a:lnTo>
                <a:lnTo>
                  <a:pt x="16200" y="4979"/>
                </a:lnTo>
                <a:lnTo>
                  <a:pt x="16200" y="21600"/>
                </a:lnTo>
                <a:lnTo>
                  <a:pt x="5400" y="21600"/>
                </a:lnTo>
                <a:close/>
              </a:path>
            </a:pathLst>
          </a:custGeom>
          <a:solidFill>
            <a:srgbClr val="FFFFFF"/>
          </a:solidFill>
          <a:ln w="12701" cap="flat">
            <a:solidFill>
              <a:srgbClr val="000000"/>
            </a:solidFill>
            <a:prstDash val="solid"/>
            <a:miter lim="800000"/>
            <a:headEnd/>
            <a:tailEnd/>
          </a:ln>
        </p:spPr>
        <p:txBody>
          <a:bodyPr anchor="ctr" anchorCtr="1"/>
          <a:lstStyle/>
          <a:p>
            <a:endParaRPr lang="it-IT"/>
          </a:p>
        </p:txBody>
      </p:sp>
      <p:grpSp>
        <p:nvGrpSpPr>
          <p:cNvPr id="19" name="Gruppo 71">
            <a:extLst>
              <a:ext uri="{FF2B5EF4-FFF2-40B4-BE49-F238E27FC236}">
                <a16:creationId xmlns:a16="http://schemas.microsoft.com/office/drawing/2014/main" id="{F5173B63-C36F-D840-B49B-ADAC997C37FD}"/>
              </a:ext>
            </a:extLst>
          </p:cNvPr>
          <p:cNvGrpSpPr>
            <a:grpSpLocks/>
          </p:cNvGrpSpPr>
          <p:nvPr/>
        </p:nvGrpSpPr>
        <p:grpSpPr bwMode="auto">
          <a:xfrm>
            <a:off x="1558926" y="2162175"/>
            <a:ext cx="1827213" cy="3227388"/>
            <a:chOff x="34920" y="2162171"/>
            <a:chExt cx="1827218" cy="3227393"/>
          </a:xfrm>
        </p:grpSpPr>
        <p:sp>
          <p:nvSpPr>
            <p:cNvPr id="132134" name="Ovale 72">
              <a:extLst>
                <a:ext uri="{FF2B5EF4-FFF2-40B4-BE49-F238E27FC236}">
                  <a16:creationId xmlns:a16="http://schemas.microsoft.com/office/drawing/2014/main" id="{4FDC1D68-266A-6F40-B207-16BBF624D60E}"/>
                </a:ext>
              </a:extLst>
            </p:cNvPr>
            <p:cNvSpPr>
              <a:spLocks/>
            </p:cNvSpPr>
            <p:nvPr/>
          </p:nvSpPr>
          <p:spPr bwMode="auto">
            <a:xfrm>
              <a:off x="73023" y="4286249"/>
              <a:ext cx="1052510" cy="1103315"/>
            </a:xfrm>
            <a:custGeom>
              <a:avLst/>
              <a:gdLst>
                <a:gd name="T0" fmla="*/ 526255 w 1052510"/>
                <a:gd name="T1" fmla="*/ 0 h 1103315"/>
                <a:gd name="T2" fmla="*/ 1052510 w 1052510"/>
                <a:gd name="T3" fmla="*/ 551658 h 1103315"/>
                <a:gd name="T4" fmla="*/ 526255 w 1052510"/>
                <a:gd name="T5" fmla="*/ 1103315 h 1103315"/>
                <a:gd name="T6" fmla="*/ 0 w 1052510"/>
                <a:gd name="T7" fmla="*/ 551658 h 1103315"/>
                <a:gd name="T8" fmla="*/ 154137 w 1052510"/>
                <a:gd name="T9" fmla="*/ 161577 h 1103315"/>
                <a:gd name="T10" fmla="*/ 154137 w 1052510"/>
                <a:gd name="T11" fmla="*/ 941738 h 1103315"/>
                <a:gd name="T12" fmla="*/ 898373 w 1052510"/>
                <a:gd name="T13" fmla="*/ 941738 h 1103315"/>
                <a:gd name="T14" fmla="*/ 898373 w 1052510"/>
                <a:gd name="T15" fmla="*/ 161577 h 1103315"/>
                <a:gd name="T16" fmla="*/ 17694720 60000 65536"/>
                <a:gd name="T17" fmla="*/ 0 60000 65536"/>
                <a:gd name="T18" fmla="*/ 5898240 60000 65536"/>
                <a:gd name="T19" fmla="*/ 11796480 60000 65536"/>
                <a:gd name="T20" fmla="*/ 17694720 60000 65536"/>
                <a:gd name="T21" fmla="*/ 5898240 60000 65536"/>
                <a:gd name="T22" fmla="*/ 5898240 60000 65536"/>
                <a:gd name="T23" fmla="*/ 17694720 60000 65536"/>
                <a:gd name="T24" fmla="*/ 154137 w 1052510"/>
                <a:gd name="T25" fmla="*/ 161577 h 1103315"/>
                <a:gd name="T26" fmla="*/ 898373 w 1052510"/>
                <a:gd name="T27" fmla="*/ 941738 h 11033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52510" h="1103315">
                  <a:moveTo>
                    <a:pt x="0" y="551658"/>
                  </a:moveTo>
                  <a:lnTo>
                    <a:pt x="0" y="551658"/>
                  </a:lnTo>
                  <a:cubicBezTo>
                    <a:pt x="0" y="856330"/>
                    <a:pt x="235612" y="1103316"/>
                    <a:pt x="526255" y="1103316"/>
                  </a:cubicBezTo>
                  <a:cubicBezTo>
                    <a:pt x="816897" y="1103316"/>
                    <a:pt x="1052510" y="856330"/>
                    <a:pt x="1052510" y="551658"/>
                  </a:cubicBezTo>
                  <a:cubicBezTo>
                    <a:pt x="1052510" y="246985"/>
                    <a:pt x="816897" y="0"/>
                    <a:pt x="526255" y="0"/>
                  </a:cubicBezTo>
                  <a:cubicBezTo>
                    <a:pt x="235612" y="0"/>
                    <a:pt x="0" y="246985"/>
                    <a:pt x="0" y="551657"/>
                  </a:cubicBezTo>
                  <a:lnTo>
                    <a:pt x="0" y="551658"/>
                  </a:lnTo>
                  <a:close/>
                </a:path>
              </a:pathLst>
            </a:custGeom>
            <a:solidFill>
              <a:srgbClr val="595959"/>
            </a:solidFill>
            <a:ln>
              <a:noFill/>
            </a:ln>
            <a:extLst>
              <a:ext uri="{91240B29-F687-4F45-9708-019B960494DF}">
                <a14:hiddenLine xmlns:a14="http://schemas.microsoft.com/office/drawing/2010/main" w="9525" cap="flat">
                  <a:solidFill>
                    <a:srgbClr val="000000"/>
                  </a:solidFill>
                  <a:prstDash val="solid"/>
                  <a:round/>
                  <a:headEnd/>
                  <a:tailEnd/>
                </a14:hiddenLine>
              </a:ext>
            </a:extLst>
          </p:spPr>
          <p:txBody>
            <a:bodyPr anchor="ctr" anchorCtr="1"/>
            <a:lstStyle/>
            <a:p>
              <a:endParaRPr lang="it-IT"/>
            </a:p>
          </p:txBody>
        </p:sp>
        <p:sp>
          <p:nvSpPr>
            <p:cNvPr id="132135" name="Freccia su 57">
              <a:extLst>
                <a:ext uri="{FF2B5EF4-FFF2-40B4-BE49-F238E27FC236}">
                  <a16:creationId xmlns:a16="http://schemas.microsoft.com/office/drawing/2014/main" id="{5F6E742B-23CD-4A42-8539-ABD8BB97F378}"/>
                </a:ext>
              </a:extLst>
            </p:cNvPr>
            <p:cNvSpPr>
              <a:spLocks/>
            </p:cNvSpPr>
            <p:nvPr/>
          </p:nvSpPr>
          <p:spPr bwMode="auto">
            <a:xfrm rot="5400013">
              <a:off x="677862" y="4205289"/>
              <a:ext cx="1103315" cy="1265236"/>
            </a:xfrm>
            <a:custGeom>
              <a:avLst/>
              <a:gdLst>
                <a:gd name="T0" fmla="*/ 28178359 w 21600"/>
                <a:gd name="T1" fmla="*/ 0 h 21600"/>
                <a:gd name="T2" fmla="*/ 56356666 w 21600"/>
                <a:gd name="T3" fmla="*/ 37056068 h 21600"/>
                <a:gd name="T4" fmla="*/ 28178359 w 21600"/>
                <a:gd name="T5" fmla="*/ 74112136 h 21600"/>
                <a:gd name="T6" fmla="*/ 0 w 21600"/>
                <a:gd name="T7" fmla="*/ 37056068 h 21600"/>
                <a:gd name="T8" fmla="*/ 0 w 21600"/>
                <a:gd name="T9" fmla="*/ 31655502 h 21600"/>
                <a:gd name="T10" fmla="*/ 56356666 w 21600"/>
                <a:gd name="T11" fmla="*/ 31655502 h 21600"/>
                <a:gd name="T12" fmla="*/ 17694720 60000 65536"/>
                <a:gd name="T13" fmla="*/ 0 60000 65536"/>
                <a:gd name="T14" fmla="*/ 5898240 60000 65536"/>
                <a:gd name="T15" fmla="*/ 11796480 60000 65536"/>
                <a:gd name="T16" fmla="*/ 11796480 60000 65536"/>
                <a:gd name="T17" fmla="*/ 0 60000 65536"/>
                <a:gd name="T18" fmla="*/ 0 w 21600"/>
                <a:gd name="T19" fmla="*/ 9226 h 21600"/>
                <a:gd name="T20" fmla="*/ 21600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0" y="21600"/>
                  </a:moveTo>
                  <a:lnTo>
                    <a:pt x="0" y="9226"/>
                  </a:lnTo>
                  <a:lnTo>
                    <a:pt x="10800" y="0"/>
                  </a:lnTo>
                  <a:lnTo>
                    <a:pt x="21600" y="9226"/>
                  </a:lnTo>
                  <a:lnTo>
                    <a:pt x="21600" y="21600"/>
                  </a:lnTo>
                  <a:lnTo>
                    <a:pt x="0" y="21600"/>
                  </a:lnTo>
                  <a:close/>
                </a:path>
              </a:pathLst>
            </a:custGeom>
            <a:solidFill>
              <a:srgbClr val="595959"/>
            </a:solidFill>
            <a:ln>
              <a:noFill/>
            </a:ln>
            <a:extLst>
              <a:ext uri="{91240B29-F687-4F45-9708-019B960494DF}">
                <a14:hiddenLine xmlns:a14="http://schemas.microsoft.com/office/drawing/2010/main" w="9525" cap="flat">
                  <a:solidFill>
                    <a:srgbClr val="000000"/>
                  </a:solidFill>
                  <a:prstDash val="solid"/>
                  <a:round/>
                  <a:headEnd/>
                  <a:tailEnd/>
                </a14:hiddenLine>
              </a:ext>
            </a:extLst>
          </p:spPr>
          <p:txBody>
            <a:bodyPr anchor="ctr" anchorCtr="1"/>
            <a:lstStyle/>
            <a:p>
              <a:endParaRPr lang="it-IT"/>
            </a:p>
          </p:txBody>
        </p:sp>
        <p:sp>
          <p:nvSpPr>
            <p:cNvPr id="132136" name="Ovale 74">
              <a:extLst>
                <a:ext uri="{FF2B5EF4-FFF2-40B4-BE49-F238E27FC236}">
                  <a16:creationId xmlns:a16="http://schemas.microsoft.com/office/drawing/2014/main" id="{374C2FA7-F329-CF4D-AD8A-288134FDC289}"/>
                </a:ext>
              </a:extLst>
            </p:cNvPr>
            <p:cNvSpPr>
              <a:spLocks/>
            </p:cNvSpPr>
            <p:nvPr/>
          </p:nvSpPr>
          <p:spPr bwMode="auto">
            <a:xfrm>
              <a:off x="34920" y="2162171"/>
              <a:ext cx="1052510" cy="1079504"/>
            </a:xfrm>
            <a:custGeom>
              <a:avLst/>
              <a:gdLst>
                <a:gd name="T0" fmla="*/ 526255 w 1052510"/>
                <a:gd name="T1" fmla="*/ 0 h 1079504"/>
                <a:gd name="T2" fmla="*/ 1052510 w 1052510"/>
                <a:gd name="T3" fmla="*/ 539752 h 1079504"/>
                <a:gd name="T4" fmla="*/ 526255 w 1052510"/>
                <a:gd name="T5" fmla="*/ 1079504 h 1079504"/>
                <a:gd name="T6" fmla="*/ 0 w 1052510"/>
                <a:gd name="T7" fmla="*/ 539752 h 1079504"/>
                <a:gd name="T8" fmla="*/ 154137 w 1052510"/>
                <a:gd name="T9" fmla="*/ 158090 h 1079504"/>
                <a:gd name="T10" fmla="*/ 154137 w 1052510"/>
                <a:gd name="T11" fmla="*/ 921414 h 1079504"/>
                <a:gd name="T12" fmla="*/ 898373 w 1052510"/>
                <a:gd name="T13" fmla="*/ 921414 h 1079504"/>
                <a:gd name="T14" fmla="*/ 898373 w 1052510"/>
                <a:gd name="T15" fmla="*/ 158090 h 1079504"/>
                <a:gd name="T16" fmla="*/ 17694720 60000 65536"/>
                <a:gd name="T17" fmla="*/ 0 60000 65536"/>
                <a:gd name="T18" fmla="*/ 5898240 60000 65536"/>
                <a:gd name="T19" fmla="*/ 11796480 60000 65536"/>
                <a:gd name="T20" fmla="*/ 17694720 60000 65536"/>
                <a:gd name="T21" fmla="*/ 5898240 60000 65536"/>
                <a:gd name="T22" fmla="*/ 5898240 60000 65536"/>
                <a:gd name="T23" fmla="*/ 17694720 60000 65536"/>
                <a:gd name="T24" fmla="*/ 154137 w 1052510"/>
                <a:gd name="T25" fmla="*/ 158090 h 1079504"/>
                <a:gd name="T26" fmla="*/ 898373 w 1052510"/>
                <a:gd name="T27" fmla="*/ 921414 h 107950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52510" h="1079504">
                  <a:moveTo>
                    <a:pt x="0" y="539752"/>
                  </a:moveTo>
                  <a:lnTo>
                    <a:pt x="0" y="539752"/>
                  </a:lnTo>
                  <a:cubicBezTo>
                    <a:pt x="0" y="837848"/>
                    <a:pt x="235612" y="1079504"/>
                    <a:pt x="526255" y="1079504"/>
                  </a:cubicBezTo>
                  <a:cubicBezTo>
                    <a:pt x="816897" y="1079504"/>
                    <a:pt x="1052510" y="837848"/>
                    <a:pt x="1052510" y="539752"/>
                  </a:cubicBezTo>
                  <a:cubicBezTo>
                    <a:pt x="1052510" y="241655"/>
                    <a:pt x="816897" y="0"/>
                    <a:pt x="526255" y="0"/>
                  </a:cubicBezTo>
                  <a:cubicBezTo>
                    <a:pt x="235612" y="0"/>
                    <a:pt x="0" y="241655"/>
                    <a:pt x="0" y="539751"/>
                  </a:cubicBezTo>
                  <a:lnTo>
                    <a:pt x="0" y="539752"/>
                  </a:lnTo>
                  <a:close/>
                </a:path>
              </a:pathLst>
            </a:custGeom>
            <a:solidFill>
              <a:srgbClr val="595959"/>
            </a:solidFill>
            <a:ln>
              <a:noFill/>
            </a:ln>
            <a:extLst>
              <a:ext uri="{91240B29-F687-4F45-9708-019B960494DF}">
                <a14:hiddenLine xmlns:a14="http://schemas.microsoft.com/office/drawing/2010/main" w="9525" cap="flat">
                  <a:solidFill>
                    <a:srgbClr val="000000"/>
                  </a:solidFill>
                  <a:prstDash val="solid"/>
                  <a:round/>
                  <a:headEnd/>
                  <a:tailEnd/>
                </a14:hiddenLine>
              </a:ext>
            </a:extLst>
          </p:spPr>
          <p:txBody>
            <a:bodyPr anchor="ctr" anchorCtr="1"/>
            <a:lstStyle/>
            <a:p>
              <a:endParaRPr lang="it-IT"/>
            </a:p>
          </p:txBody>
        </p:sp>
        <p:sp>
          <p:nvSpPr>
            <p:cNvPr id="132137" name="CasellaDiTesto 50">
              <a:extLst>
                <a:ext uri="{FF2B5EF4-FFF2-40B4-BE49-F238E27FC236}">
                  <a16:creationId xmlns:a16="http://schemas.microsoft.com/office/drawing/2014/main" id="{0CC953FA-39BE-7340-A605-BFCB807566D2}"/>
                </a:ext>
              </a:extLst>
            </p:cNvPr>
            <p:cNvSpPr txBox="1">
              <a:spLocks noChangeArrowheads="1"/>
            </p:cNvSpPr>
            <p:nvPr/>
          </p:nvSpPr>
          <p:spPr bwMode="auto">
            <a:xfrm>
              <a:off x="120773" y="4440734"/>
              <a:ext cx="1619246" cy="784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r>
                <a:rPr lang="it-IT" altLang="it-IT" sz="1500" b="1" i="1" dirty="0">
                  <a:solidFill>
                    <a:srgbClr val="FFFF00"/>
                  </a:solidFill>
                  <a:latin typeface="+mn-lt"/>
                  <a:ea typeface="ＭＳ Ｐゴシック" panose="020B0600070205080204" pitchFamily="34" charset="-128"/>
                  <a:cs typeface="Arial" panose="020B0604020202020204" pitchFamily="34" charset="0"/>
                </a:rPr>
                <a:t>Indicatori di appropriatezza ed aderenza</a:t>
              </a:r>
            </a:p>
          </p:txBody>
        </p:sp>
        <p:sp>
          <p:nvSpPr>
            <p:cNvPr id="132138" name="Freccia su 57">
              <a:extLst>
                <a:ext uri="{FF2B5EF4-FFF2-40B4-BE49-F238E27FC236}">
                  <a16:creationId xmlns:a16="http://schemas.microsoft.com/office/drawing/2014/main" id="{042A13A9-D5A5-2F48-AC1F-5BCC60B534F2}"/>
                </a:ext>
              </a:extLst>
            </p:cNvPr>
            <p:cNvSpPr>
              <a:spLocks/>
            </p:cNvSpPr>
            <p:nvPr/>
          </p:nvSpPr>
          <p:spPr bwMode="auto">
            <a:xfrm rot="5400013">
              <a:off x="670680" y="2050253"/>
              <a:ext cx="1079504" cy="1303340"/>
            </a:xfrm>
            <a:custGeom>
              <a:avLst/>
              <a:gdLst>
                <a:gd name="T0" fmla="*/ 26975206 w 21600"/>
                <a:gd name="T1" fmla="*/ 0 h 21600"/>
                <a:gd name="T2" fmla="*/ 53950411 w 21600"/>
                <a:gd name="T3" fmla="*/ 39321647 h 21600"/>
                <a:gd name="T4" fmla="*/ 26975206 w 21600"/>
                <a:gd name="T5" fmla="*/ 78643294 h 21600"/>
                <a:gd name="T6" fmla="*/ 0 w 21600"/>
                <a:gd name="T7" fmla="*/ 39321647 h 21600"/>
                <a:gd name="T8" fmla="*/ 0 w 21600"/>
                <a:gd name="T9" fmla="*/ 31905160 h 21600"/>
                <a:gd name="T10" fmla="*/ 53950411 w 21600"/>
                <a:gd name="T11" fmla="*/ 31905160 h 21600"/>
                <a:gd name="T12" fmla="*/ 17694720 60000 65536"/>
                <a:gd name="T13" fmla="*/ 0 60000 65536"/>
                <a:gd name="T14" fmla="*/ 5898240 60000 65536"/>
                <a:gd name="T15" fmla="*/ 11796480 60000 65536"/>
                <a:gd name="T16" fmla="*/ 11796480 60000 65536"/>
                <a:gd name="T17" fmla="*/ 0 60000 65536"/>
                <a:gd name="T18" fmla="*/ 0 w 21600"/>
                <a:gd name="T19" fmla="*/ 8763 h 21600"/>
                <a:gd name="T20" fmla="*/ 21600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0" y="21600"/>
                  </a:moveTo>
                  <a:lnTo>
                    <a:pt x="0" y="8763"/>
                  </a:lnTo>
                  <a:lnTo>
                    <a:pt x="10800" y="0"/>
                  </a:lnTo>
                  <a:lnTo>
                    <a:pt x="21600" y="8763"/>
                  </a:lnTo>
                  <a:lnTo>
                    <a:pt x="21600" y="21600"/>
                  </a:lnTo>
                  <a:lnTo>
                    <a:pt x="0" y="21600"/>
                  </a:lnTo>
                  <a:close/>
                </a:path>
              </a:pathLst>
            </a:custGeom>
            <a:solidFill>
              <a:srgbClr val="595959"/>
            </a:solidFill>
            <a:ln>
              <a:noFill/>
            </a:ln>
            <a:extLst>
              <a:ext uri="{91240B29-F687-4F45-9708-019B960494DF}">
                <a14:hiddenLine xmlns:a14="http://schemas.microsoft.com/office/drawing/2010/main" w="9525" cap="flat">
                  <a:solidFill>
                    <a:srgbClr val="000000"/>
                  </a:solidFill>
                  <a:prstDash val="solid"/>
                  <a:round/>
                  <a:headEnd/>
                  <a:tailEnd/>
                </a14:hiddenLine>
              </a:ext>
            </a:extLst>
          </p:spPr>
          <p:txBody>
            <a:bodyPr anchor="ctr" anchorCtr="1"/>
            <a:lstStyle/>
            <a:p>
              <a:endParaRPr lang="it-IT"/>
            </a:p>
          </p:txBody>
        </p:sp>
        <p:sp>
          <p:nvSpPr>
            <p:cNvPr id="132139" name="CasellaDiTesto 49">
              <a:extLst>
                <a:ext uri="{FF2B5EF4-FFF2-40B4-BE49-F238E27FC236}">
                  <a16:creationId xmlns:a16="http://schemas.microsoft.com/office/drawing/2014/main" id="{CAA4C80E-3AE3-4A48-BE39-FA245233DADE}"/>
                </a:ext>
              </a:extLst>
            </p:cNvPr>
            <p:cNvSpPr txBox="1">
              <a:spLocks noChangeArrowheads="1"/>
            </p:cNvSpPr>
            <p:nvPr/>
          </p:nvSpPr>
          <p:spPr bwMode="auto">
            <a:xfrm>
              <a:off x="368420" y="2384426"/>
              <a:ext cx="1119189" cy="584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r>
                <a:rPr lang="it-IT" altLang="it-IT" sz="1600" b="1" i="1">
                  <a:solidFill>
                    <a:srgbClr val="33CCFF"/>
                  </a:solidFill>
                  <a:latin typeface="+mn-lt"/>
                  <a:ea typeface="ＭＳ Ｐゴシック" panose="020B0600070205080204" pitchFamily="34" charset="-128"/>
                  <a:cs typeface="Arial" panose="020B0604020202020204" pitchFamily="34" charset="0"/>
                </a:rPr>
                <a:t>Indicatori finanziari</a:t>
              </a:r>
            </a:p>
          </p:txBody>
        </p:sp>
        <p:sp>
          <p:nvSpPr>
            <p:cNvPr id="132140" name="Freccia su 32">
              <a:extLst>
                <a:ext uri="{FF2B5EF4-FFF2-40B4-BE49-F238E27FC236}">
                  <a16:creationId xmlns:a16="http://schemas.microsoft.com/office/drawing/2014/main" id="{89DD2AF2-BC4A-8A45-AF25-2AC9C4B39C98}"/>
                </a:ext>
              </a:extLst>
            </p:cNvPr>
            <p:cNvSpPr>
              <a:spLocks/>
            </p:cNvSpPr>
            <p:nvPr/>
          </p:nvSpPr>
          <p:spPr bwMode="auto">
            <a:xfrm>
              <a:off x="765179" y="2930728"/>
              <a:ext cx="323853" cy="1443042"/>
            </a:xfrm>
            <a:custGeom>
              <a:avLst/>
              <a:gdLst>
                <a:gd name="T0" fmla="*/ 2427803 w 21600"/>
                <a:gd name="T1" fmla="*/ 0 h 21600"/>
                <a:gd name="T2" fmla="*/ 4855591 w 21600"/>
                <a:gd name="T3" fmla="*/ 48203014 h 21600"/>
                <a:gd name="T4" fmla="*/ 2427803 w 21600"/>
                <a:gd name="T5" fmla="*/ 96406028 h 21600"/>
                <a:gd name="T6" fmla="*/ 0 w 21600"/>
                <a:gd name="T7" fmla="*/ 48203014 h 21600"/>
                <a:gd name="T8" fmla="*/ 0 w 21600"/>
                <a:gd name="T9" fmla="*/ 10818873 h 21600"/>
                <a:gd name="T10" fmla="*/ 4855591 w 21600"/>
                <a:gd name="T11" fmla="*/ 10818873 h 21600"/>
                <a:gd name="T12" fmla="*/ 17694720 60000 65536"/>
                <a:gd name="T13" fmla="*/ 0 60000 65536"/>
                <a:gd name="T14" fmla="*/ 5898240 60000 65536"/>
                <a:gd name="T15" fmla="*/ 11796480 60000 65536"/>
                <a:gd name="T16" fmla="*/ 11796480 60000 65536"/>
                <a:gd name="T17" fmla="*/ 0 60000 65536"/>
                <a:gd name="T18" fmla="*/ 5400 w 21600"/>
                <a:gd name="T19" fmla="*/ 1212 h 21600"/>
                <a:gd name="T20" fmla="*/ 16200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5400" y="21600"/>
                  </a:moveTo>
                  <a:lnTo>
                    <a:pt x="5400" y="2424"/>
                  </a:lnTo>
                  <a:lnTo>
                    <a:pt x="0" y="2424"/>
                  </a:lnTo>
                  <a:lnTo>
                    <a:pt x="10800" y="0"/>
                  </a:lnTo>
                  <a:lnTo>
                    <a:pt x="21600" y="2424"/>
                  </a:lnTo>
                  <a:lnTo>
                    <a:pt x="16200" y="2424"/>
                  </a:lnTo>
                  <a:lnTo>
                    <a:pt x="16200" y="21600"/>
                  </a:lnTo>
                  <a:lnTo>
                    <a:pt x="5400" y="21600"/>
                  </a:lnTo>
                  <a:close/>
                </a:path>
              </a:pathLst>
            </a:custGeom>
            <a:solidFill>
              <a:srgbClr val="FFFFFF"/>
            </a:solidFill>
            <a:ln w="12701" cap="flat">
              <a:solidFill>
                <a:srgbClr val="000000"/>
              </a:solidFill>
              <a:prstDash val="solid"/>
              <a:miter lim="800000"/>
              <a:headEnd/>
              <a:tailEnd/>
            </a:ln>
          </p:spPr>
          <p:txBody>
            <a:bodyPr anchor="ctr" anchorCtr="1"/>
            <a:lstStyle/>
            <a:p>
              <a:endParaRPr lang="it-IT"/>
            </a:p>
          </p:txBody>
        </p:sp>
      </p:grpSp>
      <p:sp>
        <p:nvSpPr>
          <p:cNvPr id="27" name="Freccia su 32">
            <a:extLst>
              <a:ext uri="{FF2B5EF4-FFF2-40B4-BE49-F238E27FC236}">
                <a16:creationId xmlns:a16="http://schemas.microsoft.com/office/drawing/2014/main" id="{FCDC638F-E6FE-8443-A0A7-6EA14AF86B67}"/>
              </a:ext>
            </a:extLst>
          </p:cNvPr>
          <p:cNvSpPr>
            <a:spLocks/>
          </p:cNvSpPr>
          <p:nvPr/>
        </p:nvSpPr>
        <p:spPr bwMode="auto">
          <a:xfrm rot="5400013">
            <a:off x="5348288" y="2547938"/>
            <a:ext cx="379412" cy="4608512"/>
          </a:xfrm>
          <a:custGeom>
            <a:avLst/>
            <a:gdLst>
              <a:gd name="T0" fmla="*/ 3332256 w 21600"/>
              <a:gd name="T1" fmla="*/ 0 h 21600"/>
              <a:gd name="T2" fmla="*/ 6664495 w 21600"/>
              <a:gd name="T3" fmla="*/ 491629233 h 21600"/>
              <a:gd name="T4" fmla="*/ 3332256 w 21600"/>
              <a:gd name="T5" fmla="*/ 983258252 h 21600"/>
              <a:gd name="T6" fmla="*/ 0 w 21600"/>
              <a:gd name="T7" fmla="*/ 491629233 h 21600"/>
              <a:gd name="T8" fmla="*/ 0 w 21600"/>
              <a:gd name="T9" fmla="*/ 40468283 h 21600"/>
              <a:gd name="T10" fmla="*/ 6664495 w 21600"/>
              <a:gd name="T11" fmla="*/ 40468283 h 21600"/>
              <a:gd name="T12" fmla="*/ 17694720 60000 65536"/>
              <a:gd name="T13" fmla="*/ 0 60000 65536"/>
              <a:gd name="T14" fmla="*/ 5898240 60000 65536"/>
              <a:gd name="T15" fmla="*/ 11796480 60000 65536"/>
              <a:gd name="T16" fmla="*/ 11796480 60000 65536"/>
              <a:gd name="T17" fmla="*/ 0 60000 65536"/>
              <a:gd name="T18" fmla="*/ 5400 w 21600"/>
              <a:gd name="T19" fmla="*/ 444 h 21600"/>
              <a:gd name="T20" fmla="*/ 16200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5400" y="21600"/>
                </a:moveTo>
                <a:lnTo>
                  <a:pt x="5400" y="889"/>
                </a:lnTo>
                <a:lnTo>
                  <a:pt x="0" y="889"/>
                </a:lnTo>
                <a:lnTo>
                  <a:pt x="10800" y="0"/>
                </a:lnTo>
                <a:lnTo>
                  <a:pt x="21600" y="889"/>
                </a:lnTo>
                <a:lnTo>
                  <a:pt x="16200" y="889"/>
                </a:lnTo>
                <a:lnTo>
                  <a:pt x="16200" y="21600"/>
                </a:lnTo>
                <a:lnTo>
                  <a:pt x="5400" y="21600"/>
                </a:lnTo>
                <a:close/>
              </a:path>
            </a:pathLst>
          </a:custGeom>
          <a:solidFill>
            <a:srgbClr val="FFFFFF"/>
          </a:solidFill>
          <a:ln w="12701" cap="flat">
            <a:solidFill>
              <a:srgbClr val="000000"/>
            </a:solidFill>
            <a:prstDash val="solid"/>
            <a:miter lim="800000"/>
            <a:headEnd/>
            <a:tailEnd/>
          </a:ln>
        </p:spPr>
        <p:txBody>
          <a:bodyPr anchor="ctr" anchorCtr="1"/>
          <a:lstStyle/>
          <a:p>
            <a:endParaRPr lang="it-IT"/>
          </a:p>
        </p:txBody>
      </p:sp>
      <p:sp>
        <p:nvSpPr>
          <p:cNvPr id="28" name="Rettangolo 80">
            <a:extLst>
              <a:ext uri="{FF2B5EF4-FFF2-40B4-BE49-F238E27FC236}">
                <a16:creationId xmlns:a16="http://schemas.microsoft.com/office/drawing/2014/main" id="{4F0E043E-71AF-0D40-85EC-8031DD096E18}"/>
              </a:ext>
            </a:extLst>
          </p:cNvPr>
          <p:cNvSpPr>
            <a:spLocks noChangeArrowheads="1"/>
          </p:cNvSpPr>
          <p:nvPr/>
        </p:nvSpPr>
        <p:spPr bwMode="auto">
          <a:xfrm rot="16200004">
            <a:off x="2796381" y="4604544"/>
            <a:ext cx="1728788" cy="514350"/>
          </a:xfrm>
          <a:prstGeom prst="rect">
            <a:avLst/>
          </a:prstGeom>
          <a:solidFill>
            <a:srgbClr val="FFFF00">
              <a:alpha val="79999"/>
            </a:srgbClr>
          </a:solidFill>
          <a:ln w="12701">
            <a:solidFill>
              <a:srgbClr val="000000"/>
            </a:solidFill>
            <a:miter lim="800000"/>
            <a:headEnd/>
            <a:tailEnd/>
          </a:ln>
        </p:spPr>
        <p:txBody>
          <a:bodyPr anchor="ctr" anchorCtr="1"/>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endParaRPr lang="it-IT" altLang="it-IT">
              <a:solidFill>
                <a:srgbClr val="000000"/>
              </a:solidFill>
              <a:ea typeface="ＭＳ Ｐゴシック" panose="020B0600070205080204" pitchFamily="34" charset="-128"/>
              <a:cs typeface="Arial" panose="020B0604020202020204" pitchFamily="34" charset="0"/>
            </a:endParaRPr>
          </a:p>
        </p:txBody>
      </p:sp>
      <p:sp>
        <p:nvSpPr>
          <p:cNvPr id="29" name="CasellaDiTesto 14">
            <a:extLst>
              <a:ext uri="{FF2B5EF4-FFF2-40B4-BE49-F238E27FC236}">
                <a16:creationId xmlns:a16="http://schemas.microsoft.com/office/drawing/2014/main" id="{0B7A34B2-AAFD-3C40-9E9E-94F3106A539A}"/>
              </a:ext>
            </a:extLst>
          </p:cNvPr>
          <p:cNvSpPr txBox="1">
            <a:spLocks noChangeArrowheads="1"/>
          </p:cNvSpPr>
          <p:nvPr/>
        </p:nvSpPr>
        <p:spPr bwMode="auto">
          <a:xfrm rot="16200004">
            <a:off x="2804319" y="4707732"/>
            <a:ext cx="1728788"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r>
              <a:rPr lang="it-IT" altLang="it-IT" sz="1400" b="1" dirty="0">
                <a:solidFill>
                  <a:srgbClr val="000000"/>
                </a:solidFill>
                <a:latin typeface="+mn-lt"/>
                <a:ea typeface="ＭＳ Ｐゴシック" panose="020B0600070205080204" pitchFamily="34" charset="-128"/>
                <a:cs typeface="Arial" panose="020B0604020202020204" pitchFamily="34" charset="0"/>
              </a:rPr>
              <a:t>Sovra esposizione</a:t>
            </a:r>
          </a:p>
        </p:txBody>
      </p:sp>
      <p:sp>
        <p:nvSpPr>
          <p:cNvPr id="30" name="Rettangolo 82">
            <a:extLst>
              <a:ext uri="{FF2B5EF4-FFF2-40B4-BE49-F238E27FC236}">
                <a16:creationId xmlns:a16="http://schemas.microsoft.com/office/drawing/2014/main" id="{E48B48E9-52D4-8443-98E1-62B26517A3E6}"/>
              </a:ext>
            </a:extLst>
          </p:cNvPr>
          <p:cNvSpPr>
            <a:spLocks noChangeArrowheads="1"/>
          </p:cNvSpPr>
          <p:nvPr/>
        </p:nvSpPr>
        <p:spPr bwMode="auto">
          <a:xfrm rot="16200004">
            <a:off x="3306763" y="4605338"/>
            <a:ext cx="1728788" cy="512763"/>
          </a:xfrm>
          <a:prstGeom prst="rect">
            <a:avLst/>
          </a:prstGeom>
          <a:solidFill>
            <a:srgbClr val="FFFF00">
              <a:alpha val="79999"/>
            </a:srgbClr>
          </a:solidFill>
          <a:ln w="12701">
            <a:solidFill>
              <a:srgbClr val="000000"/>
            </a:solidFill>
            <a:miter lim="800000"/>
            <a:headEnd/>
            <a:tailEnd/>
          </a:ln>
        </p:spPr>
        <p:txBody>
          <a:bodyPr anchor="ctr" anchorCtr="1"/>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endParaRPr lang="it-IT" altLang="it-IT">
              <a:solidFill>
                <a:srgbClr val="000000"/>
              </a:solidFill>
              <a:ea typeface="ＭＳ Ｐゴシック" panose="020B0600070205080204" pitchFamily="34" charset="-128"/>
              <a:cs typeface="Arial" panose="020B0604020202020204" pitchFamily="34" charset="0"/>
            </a:endParaRPr>
          </a:p>
        </p:txBody>
      </p:sp>
      <p:sp>
        <p:nvSpPr>
          <p:cNvPr id="31" name="CasellaDiTesto 17">
            <a:extLst>
              <a:ext uri="{FF2B5EF4-FFF2-40B4-BE49-F238E27FC236}">
                <a16:creationId xmlns:a16="http://schemas.microsoft.com/office/drawing/2014/main" id="{89A40BB0-F158-2147-B0E5-9EE46726BADC}"/>
              </a:ext>
            </a:extLst>
          </p:cNvPr>
          <p:cNvSpPr txBox="1">
            <a:spLocks noChangeArrowheads="1"/>
          </p:cNvSpPr>
          <p:nvPr/>
        </p:nvSpPr>
        <p:spPr bwMode="auto">
          <a:xfrm rot="16200004">
            <a:off x="3310732" y="4707732"/>
            <a:ext cx="1728788"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r>
              <a:rPr lang="it-IT" altLang="it-IT" sz="1400" b="1">
                <a:solidFill>
                  <a:srgbClr val="000000"/>
                </a:solidFill>
                <a:latin typeface="+mn-lt"/>
                <a:ea typeface="ＭＳ Ｐゴシック" panose="020B0600070205080204" pitchFamily="34" charset="-128"/>
                <a:cs typeface="Arial" panose="020B0604020202020204" pitchFamily="34" charset="0"/>
              </a:rPr>
              <a:t>Sotto esposizione</a:t>
            </a:r>
          </a:p>
        </p:txBody>
      </p:sp>
      <p:sp>
        <p:nvSpPr>
          <p:cNvPr id="32" name="Rettangolo 84">
            <a:extLst>
              <a:ext uri="{FF2B5EF4-FFF2-40B4-BE49-F238E27FC236}">
                <a16:creationId xmlns:a16="http://schemas.microsoft.com/office/drawing/2014/main" id="{5F5E180C-CDB4-F446-84DB-87DFE2266ADA}"/>
              </a:ext>
            </a:extLst>
          </p:cNvPr>
          <p:cNvSpPr>
            <a:spLocks noChangeArrowheads="1"/>
          </p:cNvSpPr>
          <p:nvPr/>
        </p:nvSpPr>
        <p:spPr bwMode="auto">
          <a:xfrm rot="16200004">
            <a:off x="3822700" y="4602163"/>
            <a:ext cx="1728788" cy="519112"/>
          </a:xfrm>
          <a:prstGeom prst="rect">
            <a:avLst/>
          </a:prstGeom>
          <a:solidFill>
            <a:srgbClr val="FFFF00">
              <a:alpha val="79999"/>
            </a:srgbClr>
          </a:solidFill>
          <a:ln w="12701">
            <a:solidFill>
              <a:srgbClr val="000000"/>
            </a:solidFill>
            <a:miter lim="800000"/>
            <a:headEnd/>
            <a:tailEnd/>
          </a:ln>
        </p:spPr>
        <p:txBody>
          <a:bodyPr anchor="ctr" anchorCtr="1"/>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endParaRPr lang="it-IT" altLang="it-IT">
              <a:solidFill>
                <a:srgbClr val="000000"/>
              </a:solidFill>
              <a:ea typeface="ＭＳ Ｐゴシック" panose="020B0600070205080204" pitchFamily="34" charset="-128"/>
              <a:cs typeface="Arial" panose="020B0604020202020204" pitchFamily="34" charset="0"/>
            </a:endParaRPr>
          </a:p>
        </p:txBody>
      </p:sp>
      <p:sp>
        <p:nvSpPr>
          <p:cNvPr id="33" name="CasellaDiTesto 19">
            <a:extLst>
              <a:ext uri="{FF2B5EF4-FFF2-40B4-BE49-F238E27FC236}">
                <a16:creationId xmlns:a16="http://schemas.microsoft.com/office/drawing/2014/main" id="{4CFCDD37-CB58-C340-BEAE-E10C0AC3D519}"/>
              </a:ext>
            </a:extLst>
          </p:cNvPr>
          <p:cNvSpPr txBox="1">
            <a:spLocks noChangeArrowheads="1"/>
          </p:cNvSpPr>
          <p:nvPr/>
        </p:nvSpPr>
        <p:spPr bwMode="auto">
          <a:xfrm rot="16200004">
            <a:off x="3825082" y="4707732"/>
            <a:ext cx="1728788"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r>
              <a:rPr lang="it-IT" altLang="it-IT" sz="1400" b="1">
                <a:solidFill>
                  <a:srgbClr val="000000"/>
                </a:solidFill>
                <a:latin typeface="+mn-lt"/>
                <a:ea typeface="ＭＳ Ｐゴシック" panose="020B0600070205080204" pitchFamily="34" charset="-128"/>
                <a:cs typeface="Arial" panose="020B0604020202020204" pitchFamily="34" charset="0"/>
              </a:rPr>
              <a:t>Eccesso di durata</a:t>
            </a:r>
          </a:p>
        </p:txBody>
      </p:sp>
      <p:sp>
        <p:nvSpPr>
          <p:cNvPr id="34" name="Rettangolo 86">
            <a:extLst>
              <a:ext uri="{FF2B5EF4-FFF2-40B4-BE49-F238E27FC236}">
                <a16:creationId xmlns:a16="http://schemas.microsoft.com/office/drawing/2014/main" id="{AAD1B0C3-0966-C64B-A42C-131F12050D7F}"/>
              </a:ext>
            </a:extLst>
          </p:cNvPr>
          <p:cNvSpPr>
            <a:spLocks noChangeArrowheads="1"/>
          </p:cNvSpPr>
          <p:nvPr/>
        </p:nvSpPr>
        <p:spPr bwMode="auto">
          <a:xfrm rot="16200004">
            <a:off x="4337050" y="4606925"/>
            <a:ext cx="1728788" cy="509588"/>
          </a:xfrm>
          <a:prstGeom prst="rect">
            <a:avLst/>
          </a:prstGeom>
          <a:solidFill>
            <a:srgbClr val="FFFF00">
              <a:alpha val="79999"/>
            </a:srgbClr>
          </a:solidFill>
          <a:ln w="12701">
            <a:solidFill>
              <a:srgbClr val="000000"/>
            </a:solidFill>
            <a:miter lim="800000"/>
            <a:headEnd/>
            <a:tailEnd/>
          </a:ln>
        </p:spPr>
        <p:txBody>
          <a:bodyPr anchor="ctr" anchorCtr="1"/>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endParaRPr lang="it-IT" altLang="it-IT">
              <a:solidFill>
                <a:srgbClr val="000000"/>
              </a:solidFill>
              <a:ea typeface="ＭＳ Ｐゴシック" panose="020B0600070205080204" pitchFamily="34" charset="-128"/>
              <a:cs typeface="Arial" panose="020B0604020202020204" pitchFamily="34" charset="0"/>
            </a:endParaRPr>
          </a:p>
        </p:txBody>
      </p:sp>
      <p:sp>
        <p:nvSpPr>
          <p:cNvPr id="35" name="CasellaDiTesto 22">
            <a:extLst>
              <a:ext uri="{FF2B5EF4-FFF2-40B4-BE49-F238E27FC236}">
                <a16:creationId xmlns:a16="http://schemas.microsoft.com/office/drawing/2014/main" id="{37FAA0BD-A50C-1644-9B70-1B3384A10A03}"/>
              </a:ext>
            </a:extLst>
          </p:cNvPr>
          <p:cNvSpPr txBox="1">
            <a:spLocks noChangeArrowheads="1"/>
          </p:cNvSpPr>
          <p:nvPr/>
        </p:nvSpPr>
        <p:spPr bwMode="auto">
          <a:xfrm rot="16200004">
            <a:off x="4337844" y="4707732"/>
            <a:ext cx="1728788"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r>
              <a:rPr lang="it-IT" altLang="it-IT" sz="1400" b="1">
                <a:solidFill>
                  <a:srgbClr val="000000"/>
                </a:solidFill>
                <a:latin typeface="+mn-lt"/>
                <a:ea typeface="ＭＳ Ｐゴシック" panose="020B0600070205080204" pitchFamily="34" charset="-128"/>
                <a:cs typeface="Arial" panose="020B0604020202020204" pitchFamily="34" charset="0"/>
              </a:rPr>
              <a:t>Difetto di durata</a:t>
            </a:r>
          </a:p>
        </p:txBody>
      </p:sp>
      <p:sp>
        <p:nvSpPr>
          <p:cNvPr id="36" name="Rettangolo 88">
            <a:extLst>
              <a:ext uri="{FF2B5EF4-FFF2-40B4-BE49-F238E27FC236}">
                <a16:creationId xmlns:a16="http://schemas.microsoft.com/office/drawing/2014/main" id="{01B523CA-99A1-8349-B9AB-B9796864028D}"/>
              </a:ext>
            </a:extLst>
          </p:cNvPr>
          <p:cNvSpPr>
            <a:spLocks noChangeArrowheads="1"/>
          </p:cNvSpPr>
          <p:nvPr/>
        </p:nvSpPr>
        <p:spPr bwMode="auto">
          <a:xfrm rot="16200004">
            <a:off x="4848225" y="4605338"/>
            <a:ext cx="1728788" cy="512762"/>
          </a:xfrm>
          <a:prstGeom prst="rect">
            <a:avLst/>
          </a:prstGeom>
          <a:solidFill>
            <a:srgbClr val="FFFF00">
              <a:alpha val="79999"/>
            </a:srgbClr>
          </a:solidFill>
          <a:ln w="12701">
            <a:solidFill>
              <a:srgbClr val="000000"/>
            </a:solidFill>
            <a:miter lim="800000"/>
            <a:headEnd/>
            <a:tailEnd/>
          </a:ln>
        </p:spPr>
        <p:txBody>
          <a:bodyPr anchor="ctr" anchorCtr="1"/>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endParaRPr lang="it-IT" altLang="it-IT">
              <a:solidFill>
                <a:srgbClr val="000000"/>
              </a:solidFill>
              <a:ea typeface="ＭＳ Ｐゴシック" panose="020B0600070205080204" pitchFamily="34" charset="-128"/>
              <a:cs typeface="Arial" panose="020B0604020202020204" pitchFamily="34" charset="0"/>
            </a:endParaRPr>
          </a:p>
        </p:txBody>
      </p:sp>
      <p:sp>
        <p:nvSpPr>
          <p:cNvPr id="37" name="CasellaDiTesto 14">
            <a:extLst>
              <a:ext uri="{FF2B5EF4-FFF2-40B4-BE49-F238E27FC236}">
                <a16:creationId xmlns:a16="http://schemas.microsoft.com/office/drawing/2014/main" id="{86D8A8B6-E62C-D949-B467-89D0624A0FF4}"/>
              </a:ext>
            </a:extLst>
          </p:cNvPr>
          <p:cNvSpPr txBox="1">
            <a:spLocks noChangeArrowheads="1"/>
          </p:cNvSpPr>
          <p:nvPr/>
        </p:nvSpPr>
        <p:spPr bwMode="auto">
          <a:xfrm rot="16200004">
            <a:off x="4858544" y="4600110"/>
            <a:ext cx="172878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r>
              <a:rPr lang="it-IT" altLang="it-IT" sz="1400" b="1">
                <a:solidFill>
                  <a:srgbClr val="000000"/>
                </a:solidFill>
                <a:latin typeface="+mn-lt"/>
                <a:ea typeface="ＭＳ Ｐゴシック" panose="020B0600070205080204" pitchFamily="34" charset="-128"/>
                <a:cs typeface="Arial" panose="020B0604020202020204" pitchFamily="34" charset="0"/>
              </a:rPr>
              <a:t>Eccesso di potenza</a:t>
            </a:r>
          </a:p>
        </p:txBody>
      </p:sp>
      <p:sp>
        <p:nvSpPr>
          <p:cNvPr id="38" name="Rettangolo 90">
            <a:extLst>
              <a:ext uri="{FF2B5EF4-FFF2-40B4-BE49-F238E27FC236}">
                <a16:creationId xmlns:a16="http://schemas.microsoft.com/office/drawing/2014/main" id="{EA7E4EE2-D532-3F4D-BC2B-8E11C486B320}"/>
              </a:ext>
            </a:extLst>
          </p:cNvPr>
          <p:cNvSpPr>
            <a:spLocks noChangeArrowheads="1"/>
          </p:cNvSpPr>
          <p:nvPr/>
        </p:nvSpPr>
        <p:spPr bwMode="auto">
          <a:xfrm rot="16200004">
            <a:off x="5359400" y="4606925"/>
            <a:ext cx="1728788" cy="509588"/>
          </a:xfrm>
          <a:prstGeom prst="rect">
            <a:avLst/>
          </a:prstGeom>
          <a:solidFill>
            <a:srgbClr val="FFFF00">
              <a:alpha val="79999"/>
            </a:srgbClr>
          </a:solidFill>
          <a:ln w="12701">
            <a:solidFill>
              <a:srgbClr val="000000"/>
            </a:solidFill>
            <a:miter lim="800000"/>
            <a:headEnd/>
            <a:tailEnd/>
          </a:ln>
        </p:spPr>
        <p:txBody>
          <a:bodyPr anchor="ctr" anchorCtr="1"/>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endParaRPr lang="it-IT" altLang="it-IT">
              <a:solidFill>
                <a:srgbClr val="000000"/>
              </a:solidFill>
              <a:ea typeface="ＭＳ Ｐゴシック" panose="020B0600070205080204" pitchFamily="34" charset="-128"/>
              <a:cs typeface="Arial" panose="020B0604020202020204" pitchFamily="34" charset="0"/>
            </a:endParaRPr>
          </a:p>
        </p:txBody>
      </p:sp>
      <p:sp>
        <p:nvSpPr>
          <p:cNvPr id="39" name="CasellaDiTesto 17">
            <a:extLst>
              <a:ext uri="{FF2B5EF4-FFF2-40B4-BE49-F238E27FC236}">
                <a16:creationId xmlns:a16="http://schemas.microsoft.com/office/drawing/2014/main" id="{512880D6-9300-5841-A433-D049974B17C2}"/>
              </a:ext>
            </a:extLst>
          </p:cNvPr>
          <p:cNvSpPr txBox="1">
            <a:spLocks noChangeArrowheads="1"/>
          </p:cNvSpPr>
          <p:nvPr/>
        </p:nvSpPr>
        <p:spPr bwMode="auto">
          <a:xfrm rot="16200004">
            <a:off x="5352257" y="4707732"/>
            <a:ext cx="1728788"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r>
              <a:rPr lang="it-IT" altLang="it-IT" sz="1400" b="1">
                <a:solidFill>
                  <a:srgbClr val="000000"/>
                </a:solidFill>
                <a:latin typeface="+mn-lt"/>
                <a:ea typeface="ＭＳ Ｐゴシック" panose="020B0600070205080204" pitchFamily="34" charset="-128"/>
                <a:cs typeface="Arial" panose="020B0604020202020204" pitchFamily="34" charset="0"/>
              </a:rPr>
              <a:t>Difetto di potenza</a:t>
            </a:r>
          </a:p>
        </p:txBody>
      </p:sp>
      <p:sp>
        <p:nvSpPr>
          <p:cNvPr id="40" name="Rettangolo 92">
            <a:extLst>
              <a:ext uri="{FF2B5EF4-FFF2-40B4-BE49-F238E27FC236}">
                <a16:creationId xmlns:a16="http://schemas.microsoft.com/office/drawing/2014/main" id="{FA3520AA-35B4-544F-AB28-9EE712DE5A4A}"/>
              </a:ext>
            </a:extLst>
          </p:cNvPr>
          <p:cNvSpPr>
            <a:spLocks noChangeArrowheads="1"/>
          </p:cNvSpPr>
          <p:nvPr/>
        </p:nvSpPr>
        <p:spPr bwMode="auto">
          <a:xfrm rot="16200004">
            <a:off x="5868988" y="4606926"/>
            <a:ext cx="1728788" cy="509587"/>
          </a:xfrm>
          <a:prstGeom prst="rect">
            <a:avLst/>
          </a:prstGeom>
          <a:solidFill>
            <a:srgbClr val="FFFF00">
              <a:alpha val="79999"/>
            </a:srgbClr>
          </a:solidFill>
          <a:ln w="12701">
            <a:solidFill>
              <a:srgbClr val="000000"/>
            </a:solidFill>
            <a:miter lim="800000"/>
            <a:headEnd/>
            <a:tailEnd/>
          </a:ln>
        </p:spPr>
        <p:txBody>
          <a:bodyPr vert="eaVert" anchor="ctr" anchorCtr="1"/>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endParaRPr lang="it-IT" altLang="it-IT">
              <a:solidFill>
                <a:srgbClr val="000000"/>
              </a:solidFill>
              <a:ea typeface="ＭＳ Ｐゴシック" panose="020B0600070205080204" pitchFamily="34" charset="-128"/>
              <a:cs typeface="Arial" panose="020B0604020202020204" pitchFamily="34" charset="0"/>
            </a:endParaRPr>
          </a:p>
        </p:txBody>
      </p:sp>
      <p:sp>
        <p:nvSpPr>
          <p:cNvPr id="41" name="Rettangolo 93">
            <a:extLst>
              <a:ext uri="{FF2B5EF4-FFF2-40B4-BE49-F238E27FC236}">
                <a16:creationId xmlns:a16="http://schemas.microsoft.com/office/drawing/2014/main" id="{C5058312-3647-5F42-8F78-A8F04C347993}"/>
              </a:ext>
            </a:extLst>
          </p:cNvPr>
          <p:cNvSpPr>
            <a:spLocks noChangeArrowheads="1"/>
          </p:cNvSpPr>
          <p:nvPr/>
        </p:nvSpPr>
        <p:spPr bwMode="auto">
          <a:xfrm rot="16200004">
            <a:off x="6376988" y="4608513"/>
            <a:ext cx="1728788" cy="506413"/>
          </a:xfrm>
          <a:prstGeom prst="rect">
            <a:avLst/>
          </a:prstGeom>
          <a:solidFill>
            <a:srgbClr val="FFFF00">
              <a:alpha val="79999"/>
            </a:srgbClr>
          </a:solidFill>
          <a:ln w="12701">
            <a:solidFill>
              <a:srgbClr val="000000"/>
            </a:solidFill>
            <a:miter lim="800000"/>
            <a:headEnd/>
            <a:tailEnd/>
          </a:ln>
        </p:spPr>
        <p:txBody>
          <a:bodyPr vert="eaVert" anchor="ctr" anchorCtr="1"/>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endParaRPr lang="it-IT" altLang="it-IT">
              <a:solidFill>
                <a:srgbClr val="000000"/>
              </a:solidFill>
              <a:ea typeface="ＭＳ Ｐゴシック" panose="020B0600070205080204" pitchFamily="34" charset="-128"/>
              <a:cs typeface="Arial" panose="020B0604020202020204" pitchFamily="34" charset="0"/>
            </a:endParaRPr>
          </a:p>
        </p:txBody>
      </p:sp>
      <p:sp>
        <p:nvSpPr>
          <p:cNvPr id="42" name="CasellaDiTesto 22">
            <a:extLst>
              <a:ext uri="{FF2B5EF4-FFF2-40B4-BE49-F238E27FC236}">
                <a16:creationId xmlns:a16="http://schemas.microsoft.com/office/drawing/2014/main" id="{2E017648-10D1-1748-9C4B-3C6880DF960A}"/>
              </a:ext>
            </a:extLst>
          </p:cNvPr>
          <p:cNvSpPr txBox="1">
            <a:spLocks noChangeArrowheads="1"/>
          </p:cNvSpPr>
          <p:nvPr/>
        </p:nvSpPr>
        <p:spPr bwMode="auto">
          <a:xfrm rot="16200004">
            <a:off x="5863432" y="4599782"/>
            <a:ext cx="1728788"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r>
              <a:rPr lang="it-IT" altLang="it-IT" sz="1400" b="1">
                <a:solidFill>
                  <a:srgbClr val="000000"/>
                </a:solidFill>
                <a:latin typeface="+mn-lt"/>
                <a:ea typeface="ＭＳ Ｐゴシック" panose="020B0600070205080204" pitchFamily="34" charset="-128"/>
                <a:cs typeface="Arial" panose="020B0604020202020204" pitchFamily="34" charset="0"/>
              </a:rPr>
              <a:t>Max efficacia</a:t>
            </a:r>
          </a:p>
          <a:p>
            <a:pPr algn="ctr" eaLnBrk="1"/>
            <a:r>
              <a:rPr lang="it-IT" altLang="it-IT" sz="1400" b="1">
                <a:solidFill>
                  <a:srgbClr val="000000"/>
                </a:solidFill>
                <a:latin typeface="+mn-lt"/>
                <a:ea typeface="ＭＳ Ｐゴシック" panose="020B0600070205080204" pitchFamily="34" charset="-128"/>
                <a:cs typeface="Arial" panose="020B0604020202020204" pitchFamily="34" charset="0"/>
              </a:rPr>
              <a:t>(se pari costo)</a:t>
            </a:r>
          </a:p>
        </p:txBody>
      </p:sp>
      <p:sp>
        <p:nvSpPr>
          <p:cNvPr id="43" name="Freccia su 32">
            <a:extLst>
              <a:ext uri="{FF2B5EF4-FFF2-40B4-BE49-F238E27FC236}">
                <a16:creationId xmlns:a16="http://schemas.microsoft.com/office/drawing/2014/main" id="{868575EA-4E31-054F-B0EE-5E2602DC1657}"/>
              </a:ext>
            </a:extLst>
          </p:cNvPr>
          <p:cNvSpPr>
            <a:spLocks/>
          </p:cNvSpPr>
          <p:nvPr/>
        </p:nvSpPr>
        <p:spPr bwMode="auto">
          <a:xfrm>
            <a:off x="3562350" y="3808414"/>
            <a:ext cx="215900" cy="288925"/>
          </a:xfrm>
          <a:custGeom>
            <a:avLst/>
            <a:gdLst>
              <a:gd name="T0" fmla="*/ 1078990 w 21600"/>
              <a:gd name="T1" fmla="*/ 0 h 21600"/>
              <a:gd name="T2" fmla="*/ 2157980 w 21600"/>
              <a:gd name="T3" fmla="*/ 1932333 h 21600"/>
              <a:gd name="T4" fmla="*/ 1078990 w 21600"/>
              <a:gd name="T5" fmla="*/ 3864666 h 21600"/>
              <a:gd name="T6" fmla="*/ 0 w 21600"/>
              <a:gd name="T7" fmla="*/ 1932333 h 21600"/>
              <a:gd name="T8" fmla="*/ 0 w 21600"/>
              <a:gd name="T9" fmla="*/ 1443876 h 21600"/>
              <a:gd name="T10" fmla="*/ 2157980 w 21600"/>
              <a:gd name="T11" fmla="*/ 1443876 h 21600"/>
              <a:gd name="T12" fmla="*/ 17694720 60000 65536"/>
              <a:gd name="T13" fmla="*/ 0 60000 65536"/>
              <a:gd name="T14" fmla="*/ 5898240 60000 65536"/>
              <a:gd name="T15" fmla="*/ 11796480 60000 65536"/>
              <a:gd name="T16" fmla="*/ 11796480 60000 65536"/>
              <a:gd name="T17" fmla="*/ 0 60000 65536"/>
              <a:gd name="T18" fmla="*/ 5400 w 21600"/>
              <a:gd name="T19" fmla="*/ 4035 h 21600"/>
              <a:gd name="T20" fmla="*/ 16200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5400" y="21600"/>
                </a:moveTo>
                <a:lnTo>
                  <a:pt x="5400" y="8070"/>
                </a:lnTo>
                <a:lnTo>
                  <a:pt x="0" y="8070"/>
                </a:lnTo>
                <a:lnTo>
                  <a:pt x="10800" y="0"/>
                </a:lnTo>
                <a:lnTo>
                  <a:pt x="21600" y="8070"/>
                </a:lnTo>
                <a:lnTo>
                  <a:pt x="16200" y="8070"/>
                </a:lnTo>
                <a:lnTo>
                  <a:pt x="16200" y="21600"/>
                </a:lnTo>
                <a:lnTo>
                  <a:pt x="5400" y="21600"/>
                </a:lnTo>
                <a:close/>
              </a:path>
            </a:pathLst>
          </a:custGeom>
          <a:solidFill>
            <a:srgbClr val="FFFFFF"/>
          </a:solidFill>
          <a:ln w="12701" cap="flat">
            <a:solidFill>
              <a:srgbClr val="000000"/>
            </a:solidFill>
            <a:prstDash val="solid"/>
            <a:miter lim="800000"/>
            <a:headEnd/>
            <a:tailEnd/>
          </a:ln>
        </p:spPr>
        <p:txBody>
          <a:bodyPr anchor="ctr" anchorCtr="1"/>
          <a:lstStyle/>
          <a:p>
            <a:endParaRPr lang="it-IT"/>
          </a:p>
        </p:txBody>
      </p:sp>
      <p:sp>
        <p:nvSpPr>
          <p:cNvPr id="44" name="Freccia su 34">
            <a:extLst>
              <a:ext uri="{FF2B5EF4-FFF2-40B4-BE49-F238E27FC236}">
                <a16:creationId xmlns:a16="http://schemas.microsoft.com/office/drawing/2014/main" id="{AD6F7CCF-2B3F-F347-9915-CAC311CCA051}"/>
              </a:ext>
            </a:extLst>
          </p:cNvPr>
          <p:cNvSpPr>
            <a:spLocks/>
          </p:cNvSpPr>
          <p:nvPr/>
        </p:nvSpPr>
        <p:spPr bwMode="auto">
          <a:xfrm>
            <a:off x="4073525" y="3808414"/>
            <a:ext cx="215900" cy="288925"/>
          </a:xfrm>
          <a:custGeom>
            <a:avLst/>
            <a:gdLst>
              <a:gd name="T0" fmla="*/ 1078990 w 21600"/>
              <a:gd name="T1" fmla="*/ 0 h 21600"/>
              <a:gd name="T2" fmla="*/ 2157980 w 21600"/>
              <a:gd name="T3" fmla="*/ 1932333 h 21600"/>
              <a:gd name="T4" fmla="*/ 1078990 w 21600"/>
              <a:gd name="T5" fmla="*/ 3864666 h 21600"/>
              <a:gd name="T6" fmla="*/ 0 w 21600"/>
              <a:gd name="T7" fmla="*/ 1932333 h 21600"/>
              <a:gd name="T8" fmla="*/ 0 w 21600"/>
              <a:gd name="T9" fmla="*/ 1443876 h 21600"/>
              <a:gd name="T10" fmla="*/ 2157980 w 21600"/>
              <a:gd name="T11" fmla="*/ 1443876 h 21600"/>
              <a:gd name="T12" fmla="*/ 17694720 60000 65536"/>
              <a:gd name="T13" fmla="*/ 0 60000 65536"/>
              <a:gd name="T14" fmla="*/ 5898240 60000 65536"/>
              <a:gd name="T15" fmla="*/ 11796480 60000 65536"/>
              <a:gd name="T16" fmla="*/ 11796480 60000 65536"/>
              <a:gd name="T17" fmla="*/ 0 60000 65536"/>
              <a:gd name="T18" fmla="*/ 5400 w 21600"/>
              <a:gd name="T19" fmla="*/ 4035 h 21600"/>
              <a:gd name="T20" fmla="*/ 16200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5400" y="21600"/>
                </a:moveTo>
                <a:lnTo>
                  <a:pt x="5400" y="8070"/>
                </a:lnTo>
                <a:lnTo>
                  <a:pt x="0" y="8070"/>
                </a:lnTo>
                <a:lnTo>
                  <a:pt x="10800" y="0"/>
                </a:lnTo>
                <a:lnTo>
                  <a:pt x="21600" y="8070"/>
                </a:lnTo>
                <a:lnTo>
                  <a:pt x="16200" y="8070"/>
                </a:lnTo>
                <a:lnTo>
                  <a:pt x="16200" y="21600"/>
                </a:lnTo>
                <a:lnTo>
                  <a:pt x="5400" y="21600"/>
                </a:lnTo>
                <a:close/>
              </a:path>
            </a:pathLst>
          </a:custGeom>
          <a:solidFill>
            <a:srgbClr val="FFFFFF"/>
          </a:solidFill>
          <a:ln w="12701" cap="flat">
            <a:solidFill>
              <a:srgbClr val="000000"/>
            </a:solidFill>
            <a:prstDash val="solid"/>
            <a:miter lim="800000"/>
            <a:headEnd/>
            <a:tailEnd/>
          </a:ln>
        </p:spPr>
        <p:txBody>
          <a:bodyPr anchor="ctr" anchorCtr="1"/>
          <a:lstStyle/>
          <a:p>
            <a:endParaRPr lang="it-IT"/>
          </a:p>
        </p:txBody>
      </p:sp>
      <p:sp>
        <p:nvSpPr>
          <p:cNvPr id="45" name="Freccia su 35">
            <a:extLst>
              <a:ext uri="{FF2B5EF4-FFF2-40B4-BE49-F238E27FC236}">
                <a16:creationId xmlns:a16="http://schemas.microsoft.com/office/drawing/2014/main" id="{EFC48325-0B9D-FB4F-BFBD-62E24196F635}"/>
              </a:ext>
            </a:extLst>
          </p:cNvPr>
          <p:cNvSpPr>
            <a:spLocks/>
          </p:cNvSpPr>
          <p:nvPr/>
        </p:nvSpPr>
        <p:spPr bwMode="auto">
          <a:xfrm>
            <a:off x="4578350" y="3808414"/>
            <a:ext cx="215900" cy="288925"/>
          </a:xfrm>
          <a:custGeom>
            <a:avLst/>
            <a:gdLst>
              <a:gd name="T0" fmla="*/ 1078990 w 21600"/>
              <a:gd name="T1" fmla="*/ 0 h 21600"/>
              <a:gd name="T2" fmla="*/ 2157980 w 21600"/>
              <a:gd name="T3" fmla="*/ 1932333 h 21600"/>
              <a:gd name="T4" fmla="*/ 1078990 w 21600"/>
              <a:gd name="T5" fmla="*/ 3864666 h 21600"/>
              <a:gd name="T6" fmla="*/ 0 w 21600"/>
              <a:gd name="T7" fmla="*/ 1932333 h 21600"/>
              <a:gd name="T8" fmla="*/ 0 w 21600"/>
              <a:gd name="T9" fmla="*/ 1443876 h 21600"/>
              <a:gd name="T10" fmla="*/ 2157980 w 21600"/>
              <a:gd name="T11" fmla="*/ 1443876 h 21600"/>
              <a:gd name="T12" fmla="*/ 17694720 60000 65536"/>
              <a:gd name="T13" fmla="*/ 0 60000 65536"/>
              <a:gd name="T14" fmla="*/ 5898240 60000 65536"/>
              <a:gd name="T15" fmla="*/ 11796480 60000 65536"/>
              <a:gd name="T16" fmla="*/ 11796480 60000 65536"/>
              <a:gd name="T17" fmla="*/ 0 60000 65536"/>
              <a:gd name="T18" fmla="*/ 5400 w 21600"/>
              <a:gd name="T19" fmla="*/ 4035 h 21600"/>
              <a:gd name="T20" fmla="*/ 16200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5400" y="21600"/>
                </a:moveTo>
                <a:lnTo>
                  <a:pt x="5400" y="8070"/>
                </a:lnTo>
                <a:lnTo>
                  <a:pt x="0" y="8070"/>
                </a:lnTo>
                <a:lnTo>
                  <a:pt x="10800" y="0"/>
                </a:lnTo>
                <a:lnTo>
                  <a:pt x="21600" y="8070"/>
                </a:lnTo>
                <a:lnTo>
                  <a:pt x="16200" y="8070"/>
                </a:lnTo>
                <a:lnTo>
                  <a:pt x="16200" y="21600"/>
                </a:lnTo>
                <a:lnTo>
                  <a:pt x="5400" y="21600"/>
                </a:lnTo>
                <a:close/>
              </a:path>
            </a:pathLst>
          </a:custGeom>
          <a:solidFill>
            <a:srgbClr val="FFFFFF"/>
          </a:solidFill>
          <a:ln w="12701" cap="flat">
            <a:solidFill>
              <a:srgbClr val="000000"/>
            </a:solidFill>
            <a:prstDash val="solid"/>
            <a:miter lim="800000"/>
            <a:headEnd/>
            <a:tailEnd/>
          </a:ln>
        </p:spPr>
        <p:txBody>
          <a:bodyPr anchor="ctr" anchorCtr="1"/>
          <a:lstStyle/>
          <a:p>
            <a:endParaRPr lang="it-IT"/>
          </a:p>
        </p:txBody>
      </p:sp>
      <p:sp>
        <p:nvSpPr>
          <p:cNvPr id="46" name="Freccia su 36">
            <a:extLst>
              <a:ext uri="{FF2B5EF4-FFF2-40B4-BE49-F238E27FC236}">
                <a16:creationId xmlns:a16="http://schemas.microsoft.com/office/drawing/2014/main" id="{91523121-877D-AA47-834C-A07194DCF7F4}"/>
              </a:ext>
            </a:extLst>
          </p:cNvPr>
          <p:cNvSpPr>
            <a:spLocks/>
          </p:cNvSpPr>
          <p:nvPr/>
        </p:nvSpPr>
        <p:spPr bwMode="auto">
          <a:xfrm>
            <a:off x="5089525" y="3808414"/>
            <a:ext cx="215900" cy="288925"/>
          </a:xfrm>
          <a:custGeom>
            <a:avLst/>
            <a:gdLst>
              <a:gd name="T0" fmla="*/ 1078990 w 21600"/>
              <a:gd name="T1" fmla="*/ 0 h 21600"/>
              <a:gd name="T2" fmla="*/ 2157980 w 21600"/>
              <a:gd name="T3" fmla="*/ 1932333 h 21600"/>
              <a:gd name="T4" fmla="*/ 1078990 w 21600"/>
              <a:gd name="T5" fmla="*/ 3864666 h 21600"/>
              <a:gd name="T6" fmla="*/ 0 w 21600"/>
              <a:gd name="T7" fmla="*/ 1932333 h 21600"/>
              <a:gd name="T8" fmla="*/ 0 w 21600"/>
              <a:gd name="T9" fmla="*/ 1443876 h 21600"/>
              <a:gd name="T10" fmla="*/ 2157980 w 21600"/>
              <a:gd name="T11" fmla="*/ 1443876 h 21600"/>
              <a:gd name="T12" fmla="*/ 17694720 60000 65536"/>
              <a:gd name="T13" fmla="*/ 0 60000 65536"/>
              <a:gd name="T14" fmla="*/ 5898240 60000 65536"/>
              <a:gd name="T15" fmla="*/ 11796480 60000 65536"/>
              <a:gd name="T16" fmla="*/ 11796480 60000 65536"/>
              <a:gd name="T17" fmla="*/ 0 60000 65536"/>
              <a:gd name="T18" fmla="*/ 5400 w 21600"/>
              <a:gd name="T19" fmla="*/ 4035 h 21600"/>
              <a:gd name="T20" fmla="*/ 16200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5400" y="21600"/>
                </a:moveTo>
                <a:lnTo>
                  <a:pt x="5400" y="8070"/>
                </a:lnTo>
                <a:lnTo>
                  <a:pt x="0" y="8070"/>
                </a:lnTo>
                <a:lnTo>
                  <a:pt x="10800" y="0"/>
                </a:lnTo>
                <a:lnTo>
                  <a:pt x="21600" y="8070"/>
                </a:lnTo>
                <a:lnTo>
                  <a:pt x="16200" y="8070"/>
                </a:lnTo>
                <a:lnTo>
                  <a:pt x="16200" y="21600"/>
                </a:lnTo>
                <a:lnTo>
                  <a:pt x="5400" y="21600"/>
                </a:lnTo>
                <a:close/>
              </a:path>
            </a:pathLst>
          </a:custGeom>
          <a:solidFill>
            <a:srgbClr val="FFFFFF"/>
          </a:solidFill>
          <a:ln w="12701" cap="flat">
            <a:solidFill>
              <a:srgbClr val="000000"/>
            </a:solidFill>
            <a:prstDash val="solid"/>
            <a:miter lim="800000"/>
            <a:headEnd/>
            <a:tailEnd/>
          </a:ln>
        </p:spPr>
        <p:txBody>
          <a:bodyPr anchor="ctr" anchorCtr="1"/>
          <a:lstStyle/>
          <a:p>
            <a:endParaRPr lang="it-IT"/>
          </a:p>
        </p:txBody>
      </p:sp>
      <p:sp>
        <p:nvSpPr>
          <p:cNvPr id="47" name="Freccia su 32">
            <a:extLst>
              <a:ext uri="{FF2B5EF4-FFF2-40B4-BE49-F238E27FC236}">
                <a16:creationId xmlns:a16="http://schemas.microsoft.com/office/drawing/2014/main" id="{F243BAD8-C0E2-1142-A286-294F79FA3065}"/>
              </a:ext>
            </a:extLst>
          </p:cNvPr>
          <p:cNvSpPr>
            <a:spLocks/>
          </p:cNvSpPr>
          <p:nvPr/>
        </p:nvSpPr>
        <p:spPr bwMode="auto">
          <a:xfrm>
            <a:off x="5594350" y="3808414"/>
            <a:ext cx="215900" cy="288925"/>
          </a:xfrm>
          <a:custGeom>
            <a:avLst/>
            <a:gdLst>
              <a:gd name="T0" fmla="*/ 1078990 w 21600"/>
              <a:gd name="T1" fmla="*/ 0 h 21600"/>
              <a:gd name="T2" fmla="*/ 2157980 w 21600"/>
              <a:gd name="T3" fmla="*/ 1932333 h 21600"/>
              <a:gd name="T4" fmla="*/ 1078990 w 21600"/>
              <a:gd name="T5" fmla="*/ 3864666 h 21600"/>
              <a:gd name="T6" fmla="*/ 0 w 21600"/>
              <a:gd name="T7" fmla="*/ 1932333 h 21600"/>
              <a:gd name="T8" fmla="*/ 0 w 21600"/>
              <a:gd name="T9" fmla="*/ 1443876 h 21600"/>
              <a:gd name="T10" fmla="*/ 2157980 w 21600"/>
              <a:gd name="T11" fmla="*/ 1443876 h 21600"/>
              <a:gd name="T12" fmla="*/ 17694720 60000 65536"/>
              <a:gd name="T13" fmla="*/ 0 60000 65536"/>
              <a:gd name="T14" fmla="*/ 5898240 60000 65536"/>
              <a:gd name="T15" fmla="*/ 11796480 60000 65536"/>
              <a:gd name="T16" fmla="*/ 11796480 60000 65536"/>
              <a:gd name="T17" fmla="*/ 0 60000 65536"/>
              <a:gd name="T18" fmla="*/ 5400 w 21600"/>
              <a:gd name="T19" fmla="*/ 4035 h 21600"/>
              <a:gd name="T20" fmla="*/ 16200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5400" y="21600"/>
                </a:moveTo>
                <a:lnTo>
                  <a:pt x="5400" y="8070"/>
                </a:lnTo>
                <a:lnTo>
                  <a:pt x="0" y="8070"/>
                </a:lnTo>
                <a:lnTo>
                  <a:pt x="10800" y="0"/>
                </a:lnTo>
                <a:lnTo>
                  <a:pt x="21600" y="8070"/>
                </a:lnTo>
                <a:lnTo>
                  <a:pt x="16200" y="8070"/>
                </a:lnTo>
                <a:lnTo>
                  <a:pt x="16200" y="21600"/>
                </a:lnTo>
                <a:lnTo>
                  <a:pt x="5400" y="21600"/>
                </a:lnTo>
                <a:close/>
              </a:path>
            </a:pathLst>
          </a:custGeom>
          <a:solidFill>
            <a:srgbClr val="FFFFFF"/>
          </a:solidFill>
          <a:ln w="12701" cap="flat">
            <a:solidFill>
              <a:srgbClr val="000000"/>
            </a:solidFill>
            <a:prstDash val="solid"/>
            <a:miter lim="800000"/>
            <a:headEnd/>
            <a:tailEnd/>
          </a:ln>
        </p:spPr>
        <p:txBody>
          <a:bodyPr anchor="ctr" anchorCtr="1"/>
          <a:lstStyle/>
          <a:p>
            <a:endParaRPr lang="it-IT"/>
          </a:p>
        </p:txBody>
      </p:sp>
      <p:sp>
        <p:nvSpPr>
          <p:cNvPr id="48" name="Freccia su 34">
            <a:extLst>
              <a:ext uri="{FF2B5EF4-FFF2-40B4-BE49-F238E27FC236}">
                <a16:creationId xmlns:a16="http://schemas.microsoft.com/office/drawing/2014/main" id="{F9FCBA75-2BE3-1242-BE88-82FA4D06E2E1}"/>
              </a:ext>
            </a:extLst>
          </p:cNvPr>
          <p:cNvSpPr>
            <a:spLocks/>
          </p:cNvSpPr>
          <p:nvPr/>
        </p:nvSpPr>
        <p:spPr bwMode="auto">
          <a:xfrm>
            <a:off x="6105525" y="3808414"/>
            <a:ext cx="215900" cy="288925"/>
          </a:xfrm>
          <a:custGeom>
            <a:avLst/>
            <a:gdLst>
              <a:gd name="T0" fmla="*/ 1078990 w 21600"/>
              <a:gd name="T1" fmla="*/ 0 h 21600"/>
              <a:gd name="T2" fmla="*/ 2157980 w 21600"/>
              <a:gd name="T3" fmla="*/ 1932333 h 21600"/>
              <a:gd name="T4" fmla="*/ 1078990 w 21600"/>
              <a:gd name="T5" fmla="*/ 3864666 h 21600"/>
              <a:gd name="T6" fmla="*/ 0 w 21600"/>
              <a:gd name="T7" fmla="*/ 1932333 h 21600"/>
              <a:gd name="T8" fmla="*/ 0 w 21600"/>
              <a:gd name="T9" fmla="*/ 1443876 h 21600"/>
              <a:gd name="T10" fmla="*/ 2157980 w 21600"/>
              <a:gd name="T11" fmla="*/ 1443876 h 21600"/>
              <a:gd name="T12" fmla="*/ 17694720 60000 65536"/>
              <a:gd name="T13" fmla="*/ 0 60000 65536"/>
              <a:gd name="T14" fmla="*/ 5898240 60000 65536"/>
              <a:gd name="T15" fmla="*/ 11796480 60000 65536"/>
              <a:gd name="T16" fmla="*/ 11796480 60000 65536"/>
              <a:gd name="T17" fmla="*/ 0 60000 65536"/>
              <a:gd name="T18" fmla="*/ 5400 w 21600"/>
              <a:gd name="T19" fmla="*/ 4035 h 21600"/>
              <a:gd name="T20" fmla="*/ 16200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5400" y="21600"/>
                </a:moveTo>
                <a:lnTo>
                  <a:pt x="5400" y="8070"/>
                </a:lnTo>
                <a:lnTo>
                  <a:pt x="0" y="8070"/>
                </a:lnTo>
                <a:lnTo>
                  <a:pt x="10800" y="0"/>
                </a:lnTo>
                <a:lnTo>
                  <a:pt x="21600" y="8070"/>
                </a:lnTo>
                <a:lnTo>
                  <a:pt x="16200" y="8070"/>
                </a:lnTo>
                <a:lnTo>
                  <a:pt x="16200" y="21600"/>
                </a:lnTo>
                <a:lnTo>
                  <a:pt x="5400" y="21600"/>
                </a:lnTo>
                <a:close/>
              </a:path>
            </a:pathLst>
          </a:custGeom>
          <a:solidFill>
            <a:srgbClr val="FFFFFF"/>
          </a:solidFill>
          <a:ln w="12701" cap="flat">
            <a:solidFill>
              <a:srgbClr val="000000"/>
            </a:solidFill>
            <a:prstDash val="solid"/>
            <a:miter lim="800000"/>
            <a:headEnd/>
            <a:tailEnd/>
          </a:ln>
        </p:spPr>
        <p:txBody>
          <a:bodyPr anchor="ctr" anchorCtr="1"/>
          <a:lstStyle/>
          <a:p>
            <a:endParaRPr lang="it-IT"/>
          </a:p>
        </p:txBody>
      </p:sp>
      <p:sp>
        <p:nvSpPr>
          <p:cNvPr id="49" name="Freccia su 35">
            <a:extLst>
              <a:ext uri="{FF2B5EF4-FFF2-40B4-BE49-F238E27FC236}">
                <a16:creationId xmlns:a16="http://schemas.microsoft.com/office/drawing/2014/main" id="{61518CD4-F29F-BC4E-BB9A-61235E4BB5EB}"/>
              </a:ext>
            </a:extLst>
          </p:cNvPr>
          <p:cNvSpPr>
            <a:spLocks/>
          </p:cNvSpPr>
          <p:nvPr/>
        </p:nvSpPr>
        <p:spPr bwMode="auto">
          <a:xfrm>
            <a:off x="6608763" y="3808414"/>
            <a:ext cx="215900" cy="288925"/>
          </a:xfrm>
          <a:custGeom>
            <a:avLst/>
            <a:gdLst>
              <a:gd name="T0" fmla="*/ 1078990 w 21600"/>
              <a:gd name="T1" fmla="*/ 0 h 21600"/>
              <a:gd name="T2" fmla="*/ 2157980 w 21600"/>
              <a:gd name="T3" fmla="*/ 1932333 h 21600"/>
              <a:gd name="T4" fmla="*/ 1078990 w 21600"/>
              <a:gd name="T5" fmla="*/ 3864666 h 21600"/>
              <a:gd name="T6" fmla="*/ 0 w 21600"/>
              <a:gd name="T7" fmla="*/ 1932333 h 21600"/>
              <a:gd name="T8" fmla="*/ 0 w 21600"/>
              <a:gd name="T9" fmla="*/ 1443876 h 21600"/>
              <a:gd name="T10" fmla="*/ 2157980 w 21600"/>
              <a:gd name="T11" fmla="*/ 1443876 h 21600"/>
              <a:gd name="T12" fmla="*/ 17694720 60000 65536"/>
              <a:gd name="T13" fmla="*/ 0 60000 65536"/>
              <a:gd name="T14" fmla="*/ 5898240 60000 65536"/>
              <a:gd name="T15" fmla="*/ 11796480 60000 65536"/>
              <a:gd name="T16" fmla="*/ 11796480 60000 65536"/>
              <a:gd name="T17" fmla="*/ 0 60000 65536"/>
              <a:gd name="T18" fmla="*/ 5400 w 21600"/>
              <a:gd name="T19" fmla="*/ 4035 h 21600"/>
              <a:gd name="T20" fmla="*/ 16200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5400" y="21600"/>
                </a:moveTo>
                <a:lnTo>
                  <a:pt x="5400" y="8070"/>
                </a:lnTo>
                <a:lnTo>
                  <a:pt x="0" y="8070"/>
                </a:lnTo>
                <a:lnTo>
                  <a:pt x="10800" y="0"/>
                </a:lnTo>
                <a:lnTo>
                  <a:pt x="21600" y="8070"/>
                </a:lnTo>
                <a:lnTo>
                  <a:pt x="16200" y="8070"/>
                </a:lnTo>
                <a:lnTo>
                  <a:pt x="16200" y="21600"/>
                </a:lnTo>
                <a:lnTo>
                  <a:pt x="5400" y="21600"/>
                </a:lnTo>
                <a:close/>
              </a:path>
            </a:pathLst>
          </a:custGeom>
          <a:solidFill>
            <a:srgbClr val="FFFFFF"/>
          </a:solidFill>
          <a:ln w="12701" cap="flat">
            <a:solidFill>
              <a:srgbClr val="000000"/>
            </a:solidFill>
            <a:prstDash val="solid"/>
            <a:miter lim="800000"/>
            <a:headEnd/>
            <a:tailEnd/>
          </a:ln>
        </p:spPr>
        <p:txBody>
          <a:bodyPr anchor="ctr" anchorCtr="1"/>
          <a:lstStyle/>
          <a:p>
            <a:endParaRPr lang="it-IT"/>
          </a:p>
        </p:txBody>
      </p:sp>
      <p:sp>
        <p:nvSpPr>
          <p:cNvPr id="50" name="Freccia su 36">
            <a:extLst>
              <a:ext uri="{FF2B5EF4-FFF2-40B4-BE49-F238E27FC236}">
                <a16:creationId xmlns:a16="http://schemas.microsoft.com/office/drawing/2014/main" id="{8F3FC784-1D2E-9A43-8DAA-E75D935B7FC2}"/>
              </a:ext>
            </a:extLst>
          </p:cNvPr>
          <p:cNvSpPr>
            <a:spLocks/>
          </p:cNvSpPr>
          <p:nvPr/>
        </p:nvSpPr>
        <p:spPr bwMode="auto">
          <a:xfrm>
            <a:off x="7116763" y="3808414"/>
            <a:ext cx="215900" cy="288925"/>
          </a:xfrm>
          <a:custGeom>
            <a:avLst/>
            <a:gdLst>
              <a:gd name="T0" fmla="*/ 1078990 w 21600"/>
              <a:gd name="T1" fmla="*/ 0 h 21600"/>
              <a:gd name="T2" fmla="*/ 2157980 w 21600"/>
              <a:gd name="T3" fmla="*/ 1932333 h 21600"/>
              <a:gd name="T4" fmla="*/ 1078990 w 21600"/>
              <a:gd name="T5" fmla="*/ 3864666 h 21600"/>
              <a:gd name="T6" fmla="*/ 0 w 21600"/>
              <a:gd name="T7" fmla="*/ 1932333 h 21600"/>
              <a:gd name="T8" fmla="*/ 0 w 21600"/>
              <a:gd name="T9" fmla="*/ 1443876 h 21600"/>
              <a:gd name="T10" fmla="*/ 2157980 w 21600"/>
              <a:gd name="T11" fmla="*/ 1443876 h 21600"/>
              <a:gd name="T12" fmla="*/ 17694720 60000 65536"/>
              <a:gd name="T13" fmla="*/ 0 60000 65536"/>
              <a:gd name="T14" fmla="*/ 5898240 60000 65536"/>
              <a:gd name="T15" fmla="*/ 11796480 60000 65536"/>
              <a:gd name="T16" fmla="*/ 11796480 60000 65536"/>
              <a:gd name="T17" fmla="*/ 0 60000 65536"/>
              <a:gd name="T18" fmla="*/ 5400 w 21600"/>
              <a:gd name="T19" fmla="*/ 4035 h 21600"/>
              <a:gd name="T20" fmla="*/ 16200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5400" y="21600"/>
                </a:moveTo>
                <a:lnTo>
                  <a:pt x="5400" y="8070"/>
                </a:lnTo>
                <a:lnTo>
                  <a:pt x="0" y="8070"/>
                </a:lnTo>
                <a:lnTo>
                  <a:pt x="10800" y="0"/>
                </a:lnTo>
                <a:lnTo>
                  <a:pt x="21600" y="8070"/>
                </a:lnTo>
                <a:lnTo>
                  <a:pt x="16200" y="8070"/>
                </a:lnTo>
                <a:lnTo>
                  <a:pt x="16200" y="21600"/>
                </a:lnTo>
                <a:lnTo>
                  <a:pt x="5400" y="21600"/>
                </a:lnTo>
                <a:close/>
              </a:path>
            </a:pathLst>
          </a:custGeom>
          <a:solidFill>
            <a:srgbClr val="FFFFFF"/>
          </a:solidFill>
          <a:ln w="12701" cap="flat">
            <a:solidFill>
              <a:srgbClr val="000000"/>
            </a:solidFill>
            <a:prstDash val="solid"/>
            <a:miter lim="800000"/>
            <a:headEnd/>
            <a:tailEnd/>
          </a:ln>
        </p:spPr>
        <p:txBody>
          <a:bodyPr anchor="ctr" anchorCtr="1"/>
          <a:lstStyle/>
          <a:p>
            <a:endParaRPr lang="it-IT"/>
          </a:p>
        </p:txBody>
      </p:sp>
      <p:sp>
        <p:nvSpPr>
          <p:cNvPr id="51" name="CasellaDiTesto 19">
            <a:extLst>
              <a:ext uri="{FF2B5EF4-FFF2-40B4-BE49-F238E27FC236}">
                <a16:creationId xmlns:a16="http://schemas.microsoft.com/office/drawing/2014/main" id="{335DC36F-0BF5-3747-92EE-BBA28447AE20}"/>
              </a:ext>
            </a:extLst>
          </p:cNvPr>
          <p:cNvSpPr txBox="1">
            <a:spLocks noChangeArrowheads="1"/>
          </p:cNvSpPr>
          <p:nvPr/>
        </p:nvSpPr>
        <p:spPr bwMode="auto">
          <a:xfrm rot="16200004">
            <a:off x="6376988" y="4600576"/>
            <a:ext cx="1728788" cy="52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r>
              <a:rPr lang="it-IT" altLang="it-IT" sz="1400" b="1">
                <a:solidFill>
                  <a:srgbClr val="000000"/>
                </a:solidFill>
                <a:latin typeface="+mn-lt"/>
                <a:ea typeface="ＭＳ Ｐゴシック" panose="020B0600070205080204" pitchFamily="34" charset="-128"/>
                <a:cs typeface="Arial" panose="020B0604020202020204" pitchFamily="34" charset="0"/>
              </a:rPr>
              <a:t>Min costo</a:t>
            </a:r>
          </a:p>
          <a:p>
            <a:pPr algn="ctr" eaLnBrk="1"/>
            <a:r>
              <a:rPr lang="it-IT" altLang="it-IT" sz="1400" b="1">
                <a:solidFill>
                  <a:srgbClr val="000000"/>
                </a:solidFill>
                <a:latin typeface="+mn-lt"/>
                <a:ea typeface="ＭＳ Ｐゴシック" panose="020B0600070205080204" pitchFamily="34" charset="-128"/>
                <a:cs typeface="Arial" panose="020B0604020202020204" pitchFamily="34" charset="0"/>
              </a:rPr>
              <a:t>(se pari efficacia)</a:t>
            </a:r>
          </a:p>
        </p:txBody>
      </p:sp>
    </p:spTree>
    <p:extLst>
      <p:ext uri="{BB962C8B-B14F-4D97-AF65-F5344CB8AC3E}">
        <p14:creationId xmlns:p14="http://schemas.microsoft.com/office/powerpoint/2010/main" val="294890204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0" name="Immagine 69">
            <a:extLst>
              <a:ext uri="{FF2B5EF4-FFF2-40B4-BE49-F238E27FC236}">
                <a16:creationId xmlns:a16="http://schemas.microsoft.com/office/drawing/2014/main" id="{C9B7A66F-E17D-534F-B991-DB4CEA9C2326}"/>
              </a:ext>
            </a:extLst>
          </p:cNvPr>
          <p:cNvPicPr>
            <a:picLocks noChangeAspect="1"/>
          </p:cNvPicPr>
          <p:nvPr/>
        </p:nvPicPr>
        <p:blipFill>
          <a:blip r:embed="rId3">
            <a:duotone>
              <a:schemeClr val="accent6">
                <a:shade val="45000"/>
                <a:satMod val="135000"/>
              </a:schemeClr>
              <a:prstClr val="white"/>
            </a:duotone>
            <a:alphaModFix amt="30000"/>
            <a:extLst>
              <a:ext uri="{BEBA8EAE-BF5A-486C-A8C5-ECC9F3942E4B}">
                <a14:imgProps xmlns:a14="http://schemas.microsoft.com/office/drawing/2010/main">
                  <a14:imgLayer r:embed="rId4">
                    <a14:imgEffect>
                      <a14:colorTemperature colorTemp="1500"/>
                    </a14:imgEffect>
                    <a14:imgEffect>
                      <a14:saturation sat="0"/>
                    </a14:imgEffect>
                  </a14:imgLayer>
                </a14:imgProps>
              </a:ext>
            </a:extLst>
          </a:blip>
          <a:stretch>
            <a:fillRect/>
          </a:stretch>
        </p:blipFill>
        <p:spPr>
          <a:xfrm>
            <a:off x="0" y="0"/>
            <a:ext cx="12199171" cy="6858000"/>
          </a:xfrm>
          <a:prstGeom prst="rect">
            <a:avLst/>
          </a:prstGeom>
          <a:solidFill>
            <a:srgbClr val="FFFFFF"/>
          </a:solidFill>
          <a:ln>
            <a:solidFill>
              <a:schemeClr val="bg1"/>
            </a:solidFill>
          </a:ln>
        </p:spPr>
      </p:pic>
      <p:sp>
        <p:nvSpPr>
          <p:cNvPr id="134145" name="Titolo 14">
            <a:extLst>
              <a:ext uri="{FF2B5EF4-FFF2-40B4-BE49-F238E27FC236}">
                <a16:creationId xmlns:a16="http://schemas.microsoft.com/office/drawing/2014/main" id="{2B234B5D-4238-C042-AE8F-8642DD3298FF}"/>
              </a:ext>
            </a:extLst>
          </p:cNvPr>
          <p:cNvSpPr>
            <a:spLocks noChangeArrowheads="1"/>
          </p:cNvSpPr>
          <p:nvPr/>
        </p:nvSpPr>
        <p:spPr bwMode="auto">
          <a:xfrm>
            <a:off x="1192574" y="290519"/>
            <a:ext cx="9813208"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spcAft>
                <a:spcPts val="300"/>
              </a:spcAft>
            </a:pPr>
            <a:r>
              <a:rPr lang="it-IT" altLang="it-IT" dirty="0">
                <a:solidFill>
                  <a:srgbClr val="000000"/>
                </a:solidFill>
                <a:latin typeface="+mn-lt"/>
                <a:ea typeface="ＭＳ Ｐゴシック" panose="020B0600070205080204" pitchFamily="34" charset="-128"/>
                <a:cs typeface="Arial" panose="020B0604020202020204" pitchFamily="34" charset="0"/>
              </a:rPr>
              <a:t>PROCESSO DI MIGLIORAMENTO DELL’APPROPRIATEZZA PRESCRITTIVA E DELL’EFFICIENZA: DALL’IDENTIFICAZIONE DEL PROBLEMA ALLA SUA EFFETTIVA RISOLUZIONE</a:t>
            </a:r>
          </a:p>
        </p:txBody>
      </p:sp>
      <p:grpSp>
        <p:nvGrpSpPr>
          <p:cNvPr id="134146" name="Freccia">
            <a:extLst>
              <a:ext uri="{FF2B5EF4-FFF2-40B4-BE49-F238E27FC236}">
                <a16:creationId xmlns:a16="http://schemas.microsoft.com/office/drawing/2014/main" id="{54201746-CDC1-7B40-B908-B5ED4CA48698}"/>
              </a:ext>
            </a:extLst>
          </p:cNvPr>
          <p:cNvGrpSpPr>
            <a:grpSpLocks/>
          </p:cNvGrpSpPr>
          <p:nvPr/>
        </p:nvGrpSpPr>
        <p:grpSpPr bwMode="auto">
          <a:xfrm>
            <a:off x="4638676" y="1200150"/>
            <a:ext cx="3370263" cy="3251200"/>
            <a:chOff x="3114674" y="1200148"/>
            <a:chExt cx="3370260" cy="3251196"/>
          </a:xfrm>
        </p:grpSpPr>
        <p:sp>
          <p:nvSpPr>
            <p:cNvPr id="134211" name="Cerchio parziale 34">
              <a:extLst>
                <a:ext uri="{FF2B5EF4-FFF2-40B4-BE49-F238E27FC236}">
                  <a16:creationId xmlns:a16="http://schemas.microsoft.com/office/drawing/2014/main" id="{71AE0A75-B97B-1049-B35F-B1D443439BBC}"/>
                </a:ext>
              </a:extLst>
            </p:cNvPr>
            <p:cNvSpPr>
              <a:spLocks/>
            </p:cNvSpPr>
            <p:nvPr/>
          </p:nvSpPr>
          <p:spPr bwMode="auto">
            <a:xfrm>
              <a:off x="3114674" y="1610578"/>
              <a:ext cx="2995985" cy="2840766"/>
            </a:xfrm>
            <a:custGeom>
              <a:avLst/>
              <a:gdLst>
                <a:gd name="T0" fmla="*/ 1497993 w 2995985"/>
                <a:gd name="T1" fmla="*/ 0 h 2840766"/>
                <a:gd name="T2" fmla="*/ 2995985 w 2995985"/>
                <a:gd name="T3" fmla="*/ 1420383 h 2840766"/>
                <a:gd name="T4" fmla="*/ 1497993 w 2995985"/>
                <a:gd name="T5" fmla="*/ 2840766 h 2840766"/>
                <a:gd name="T6" fmla="*/ 0 w 2995985"/>
                <a:gd name="T7" fmla="*/ 1420383 h 2840766"/>
                <a:gd name="T8" fmla="*/ 17694720 60000 65536"/>
                <a:gd name="T9" fmla="*/ 0 60000 65536"/>
                <a:gd name="T10" fmla="*/ 5898240 60000 65536"/>
                <a:gd name="T11" fmla="*/ 11796480 60000 65536"/>
                <a:gd name="T12" fmla="*/ 438752 w 2995985"/>
                <a:gd name="T13" fmla="*/ 416021 h 2840766"/>
                <a:gd name="T14" fmla="*/ 2557233 w 2995985"/>
                <a:gd name="T15" fmla="*/ 2424745 h 2840766"/>
              </a:gdLst>
              <a:ahLst/>
              <a:cxnLst>
                <a:cxn ang="T8">
                  <a:pos x="T0" y="T1"/>
                </a:cxn>
                <a:cxn ang="T9">
                  <a:pos x="T2" y="T3"/>
                </a:cxn>
                <a:cxn ang="T10">
                  <a:pos x="T4" y="T5"/>
                </a:cxn>
                <a:cxn ang="T11">
                  <a:pos x="T6" y="T7"/>
                </a:cxn>
              </a:cxnLst>
              <a:rect l="T12" t="T13" r="T14" b="T15"/>
              <a:pathLst>
                <a:path w="2995985" h="2840766">
                  <a:moveTo>
                    <a:pt x="2995731" y="1446526"/>
                  </a:moveTo>
                  <a:lnTo>
                    <a:pt x="2995731" y="1446526"/>
                  </a:lnTo>
                  <a:cubicBezTo>
                    <a:pt x="2980701" y="2220660"/>
                    <a:pt x="2314563" y="2840766"/>
                    <a:pt x="1497992" y="2840766"/>
                  </a:cubicBezTo>
                  <a:cubicBezTo>
                    <a:pt x="670673" y="2840766"/>
                    <a:pt x="-1" y="2204838"/>
                    <a:pt x="-1" y="1420383"/>
                  </a:cubicBezTo>
                  <a:lnTo>
                    <a:pt x="1497993" y="1420383"/>
                  </a:lnTo>
                  <a:lnTo>
                    <a:pt x="2995731" y="1446526"/>
                  </a:lnTo>
                  <a:close/>
                </a:path>
              </a:pathLst>
            </a:custGeom>
            <a:solidFill>
              <a:srgbClr val="D9D9D9"/>
            </a:solidFill>
            <a:ln w="3172" cap="flat">
              <a:solidFill>
                <a:srgbClr val="FFFFFF"/>
              </a:solidFill>
              <a:prstDash val="solid"/>
              <a:miter lim="800000"/>
              <a:headEnd/>
              <a:tailEnd/>
            </a:ln>
          </p:spPr>
          <p:txBody>
            <a:bodyPr/>
            <a:lstStyle/>
            <a:p>
              <a:endParaRPr lang="it-IT"/>
            </a:p>
          </p:txBody>
        </p:sp>
        <p:sp>
          <p:nvSpPr>
            <p:cNvPr id="134212" name="Freccia a destra 30">
              <a:extLst>
                <a:ext uri="{FF2B5EF4-FFF2-40B4-BE49-F238E27FC236}">
                  <a16:creationId xmlns:a16="http://schemas.microsoft.com/office/drawing/2014/main" id="{2080C2C0-4276-3F4C-910D-D1E7762CFE0A}"/>
                </a:ext>
              </a:extLst>
            </p:cNvPr>
            <p:cNvSpPr>
              <a:spLocks/>
            </p:cNvSpPr>
            <p:nvPr/>
          </p:nvSpPr>
          <p:spPr bwMode="auto">
            <a:xfrm rot="-5399996">
              <a:off x="4796627" y="1383509"/>
              <a:ext cx="1871667" cy="1504946"/>
            </a:xfrm>
            <a:custGeom>
              <a:avLst/>
              <a:gdLst>
                <a:gd name="T0" fmla="*/ 81091186 w 21600"/>
                <a:gd name="T1" fmla="*/ 0 h 21600"/>
                <a:gd name="T2" fmla="*/ 162182285 w 21600"/>
                <a:gd name="T3" fmla="*/ 52427372 h 21600"/>
                <a:gd name="T4" fmla="*/ 81091186 w 21600"/>
                <a:gd name="T5" fmla="*/ 104854744 h 21600"/>
                <a:gd name="T6" fmla="*/ 0 w 21600"/>
                <a:gd name="T7" fmla="*/ 52427372 h 21600"/>
                <a:gd name="T8" fmla="*/ 119324144 w 21600"/>
                <a:gd name="T9" fmla="*/ 0 h 21600"/>
                <a:gd name="T10" fmla="*/ 119324144 w 21600"/>
                <a:gd name="T11" fmla="*/ 104854744 h 21600"/>
                <a:gd name="T12" fmla="*/ 17694720 60000 65536"/>
                <a:gd name="T13" fmla="*/ 0 60000 65536"/>
                <a:gd name="T14" fmla="*/ 5898240 60000 65536"/>
                <a:gd name="T15" fmla="*/ 11796480 60000 65536"/>
                <a:gd name="T16" fmla="*/ 17694720 60000 65536"/>
                <a:gd name="T17" fmla="*/ 5898240 60000 65536"/>
                <a:gd name="T18" fmla="*/ 0 w 21600"/>
                <a:gd name="T19" fmla="*/ 5400 h 21600"/>
                <a:gd name="T20" fmla="*/ 18746 w 21600"/>
                <a:gd name="T21" fmla="*/ 162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0" y="5400"/>
                  </a:moveTo>
                  <a:lnTo>
                    <a:pt x="15892" y="5400"/>
                  </a:lnTo>
                  <a:lnTo>
                    <a:pt x="15892" y="0"/>
                  </a:lnTo>
                  <a:lnTo>
                    <a:pt x="21600" y="10800"/>
                  </a:lnTo>
                  <a:lnTo>
                    <a:pt x="15892" y="21600"/>
                  </a:lnTo>
                  <a:lnTo>
                    <a:pt x="15892" y="16200"/>
                  </a:lnTo>
                  <a:lnTo>
                    <a:pt x="0" y="16200"/>
                  </a:lnTo>
                  <a:lnTo>
                    <a:pt x="0" y="5400"/>
                  </a:lnTo>
                  <a:close/>
                </a:path>
              </a:pathLst>
            </a:custGeom>
            <a:solidFill>
              <a:srgbClr val="E6E6E6"/>
            </a:solidFill>
            <a:ln>
              <a:noFill/>
            </a:ln>
            <a:extLst>
              <a:ext uri="{91240B29-F687-4F45-9708-019B960494DF}">
                <a14:hiddenLine xmlns:a14="http://schemas.microsoft.com/office/drawing/2010/main" w="9525" cap="flat">
                  <a:solidFill>
                    <a:srgbClr val="000000"/>
                  </a:solidFill>
                  <a:prstDash val="solid"/>
                  <a:round/>
                  <a:headEnd/>
                  <a:tailEnd/>
                </a14:hiddenLine>
              </a:ext>
            </a:extLst>
          </p:spPr>
          <p:txBody>
            <a:bodyPr anchor="ctr" anchorCtr="1"/>
            <a:lstStyle/>
            <a:p>
              <a:endParaRPr lang="it-IT"/>
            </a:p>
          </p:txBody>
        </p:sp>
      </p:grpSp>
      <p:pic>
        <p:nvPicPr>
          <p:cNvPr id="134147" name="Freccia">
            <a:extLst>
              <a:ext uri="{FF2B5EF4-FFF2-40B4-BE49-F238E27FC236}">
                <a16:creationId xmlns:a16="http://schemas.microsoft.com/office/drawing/2014/main" id="{4C126C21-24D5-484B-912C-329D1B411ADE}"/>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4622800" y="1196975"/>
            <a:ext cx="3403600" cy="328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34148" name="Disegno Centrale">
            <a:extLst>
              <a:ext uri="{FF2B5EF4-FFF2-40B4-BE49-F238E27FC236}">
                <a16:creationId xmlns:a16="http://schemas.microsoft.com/office/drawing/2014/main" id="{F6740D22-7159-8B43-A438-DEC1B13AB6CB}"/>
              </a:ext>
            </a:extLst>
          </p:cNvPr>
          <p:cNvGrpSpPr>
            <a:grpSpLocks/>
          </p:cNvGrpSpPr>
          <p:nvPr/>
        </p:nvGrpSpPr>
        <p:grpSpPr bwMode="auto">
          <a:xfrm>
            <a:off x="5405439" y="2322514"/>
            <a:ext cx="1476375" cy="1474787"/>
            <a:chOff x="3881435" y="2322511"/>
            <a:chExt cx="1476371" cy="1474790"/>
          </a:xfrm>
        </p:grpSpPr>
        <p:sp>
          <p:nvSpPr>
            <p:cNvPr id="134192" name="Ovale 27">
              <a:extLst>
                <a:ext uri="{FF2B5EF4-FFF2-40B4-BE49-F238E27FC236}">
                  <a16:creationId xmlns:a16="http://schemas.microsoft.com/office/drawing/2014/main" id="{9A436E94-75AF-8A4A-AEBB-22EDC872CA97}"/>
                </a:ext>
              </a:extLst>
            </p:cNvPr>
            <p:cNvSpPr>
              <a:spLocks/>
            </p:cNvSpPr>
            <p:nvPr/>
          </p:nvSpPr>
          <p:spPr bwMode="auto">
            <a:xfrm>
              <a:off x="3881435" y="2322511"/>
              <a:ext cx="1476371" cy="1474790"/>
            </a:xfrm>
            <a:custGeom>
              <a:avLst/>
              <a:gdLst>
                <a:gd name="T0" fmla="*/ 738186 w 1476371"/>
                <a:gd name="T1" fmla="*/ 0 h 1474790"/>
                <a:gd name="T2" fmla="*/ 1476371 w 1476371"/>
                <a:gd name="T3" fmla="*/ 737395 h 1474790"/>
                <a:gd name="T4" fmla="*/ 738186 w 1476371"/>
                <a:gd name="T5" fmla="*/ 1474790 h 1474790"/>
                <a:gd name="T6" fmla="*/ 0 w 1476371"/>
                <a:gd name="T7" fmla="*/ 737395 h 1474790"/>
                <a:gd name="T8" fmla="*/ 216210 w 1476371"/>
                <a:gd name="T9" fmla="*/ 215978 h 1474790"/>
                <a:gd name="T10" fmla="*/ 216210 w 1476371"/>
                <a:gd name="T11" fmla="*/ 1258812 h 1474790"/>
                <a:gd name="T12" fmla="*/ 1260161 w 1476371"/>
                <a:gd name="T13" fmla="*/ 1258812 h 1474790"/>
                <a:gd name="T14" fmla="*/ 1260161 w 1476371"/>
                <a:gd name="T15" fmla="*/ 215978 h 1474790"/>
                <a:gd name="T16" fmla="*/ 17694720 60000 65536"/>
                <a:gd name="T17" fmla="*/ 0 60000 65536"/>
                <a:gd name="T18" fmla="*/ 5898240 60000 65536"/>
                <a:gd name="T19" fmla="*/ 11796480 60000 65536"/>
                <a:gd name="T20" fmla="*/ 17694720 60000 65536"/>
                <a:gd name="T21" fmla="*/ 5898240 60000 65536"/>
                <a:gd name="T22" fmla="*/ 5898240 60000 65536"/>
                <a:gd name="T23" fmla="*/ 17694720 60000 65536"/>
                <a:gd name="T24" fmla="*/ 216210 w 1476371"/>
                <a:gd name="T25" fmla="*/ 215978 h 1474790"/>
                <a:gd name="T26" fmla="*/ 1260161 w 1476371"/>
                <a:gd name="T27" fmla="*/ 1258812 h 147479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76371" h="1474790">
                  <a:moveTo>
                    <a:pt x="0" y="737395"/>
                  </a:moveTo>
                  <a:lnTo>
                    <a:pt x="0" y="737395"/>
                  </a:lnTo>
                  <a:cubicBezTo>
                    <a:pt x="0" y="1144647"/>
                    <a:pt x="330497" y="1474790"/>
                    <a:pt x="738186" y="1474790"/>
                  </a:cubicBezTo>
                  <a:cubicBezTo>
                    <a:pt x="1145874" y="1474790"/>
                    <a:pt x="1476372" y="1144647"/>
                    <a:pt x="1476372" y="737395"/>
                  </a:cubicBezTo>
                  <a:cubicBezTo>
                    <a:pt x="1476372" y="330142"/>
                    <a:pt x="1145874" y="0"/>
                    <a:pt x="738186" y="0"/>
                  </a:cubicBezTo>
                  <a:cubicBezTo>
                    <a:pt x="330497" y="0"/>
                    <a:pt x="0" y="330142"/>
                    <a:pt x="0" y="737394"/>
                  </a:cubicBezTo>
                  <a:lnTo>
                    <a:pt x="0" y="737395"/>
                  </a:lnTo>
                  <a:close/>
                </a:path>
              </a:pathLst>
            </a:custGeom>
            <a:solidFill>
              <a:srgbClr val="FFFFFF"/>
            </a:solidFill>
            <a:ln>
              <a:noFill/>
            </a:ln>
            <a:extLst>
              <a:ext uri="{91240B29-F687-4F45-9708-019B960494DF}">
                <a14:hiddenLine xmlns:a14="http://schemas.microsoft.com/office/drawing/2010/main" w="9525" cap="flat">
                  <a:solidFill>
                    <a:srgbClr val="000000"/>
                  </a:solidFill>
                  <a:prstDash val="solid"/>
                  <a:round/>
                  <a:headEnd/>
                  <a:tailEnd/>
                </a14:hiddenLine>
              </a:ext>
            </a:extLst>
          </p:spPr>
          <p:txBody>
            <a:bodyPr anchor="ctr" anchorCtr="1"/>
            <a:lstStyle/>
            <a:p>
              <a:endParaRPr lang="it-IT"/>
            </a:p>
          </p:txBody>
        </p:sp>
        <p:sp>
          <p:nvSpPr>
            <p:cNvPr id="134193" name="Ovale 28">
              <a:extLst>
                <a:ext uri="{FF2B5EF4-FFF2-40B4-BE49-F238E27FC236}">
                  <a16:creationId xmlns:a16="http://schemas.microsoft.com/office/drawing/2014/main" id="{E3221A00-844D-DA48-9BF3-F2DC93A9BD99}"/>
                </a:ext>
              </a:extLst>
            </p:cNvPr>
            <p:cNvSpPr>
              <a:spLocks/>
            </p:cNvSpPr>
            <p:nvPr/>
          </p:nvSpPr>
          <p:spPr bwMode="auto">
            <a:xfrm>
              <a:off x="4011609" y="2452685"/>
              <a:ext cx="1216023" cy="1214432"/>
            </a:xfrm>
            <a:custGeom>
              <a:avLst/>
              <a:gdLst>
                <a:gd name="T0" fmla="*/ 608012 w 1216023"/>
                <a:gd name="T1" fmla="*/ 0 h 1214432"/>
                <a:gd name="T2" fmla="*/ 1216023 w 1216023"/>
                <a:gd name="T3" fmla="*/ 607216 h 1214432"/>
                <a:gd name="T4" fmla="*/ 608012 w 1216023"/>
                <a:gd name="T5" fmla="*/ 1214432 h 1214432"/>
                <a:gd name="T6" fmla="*/ 0 w 1216023"/>
                <a:gd name="T7" fmla="*/ 607216 h 1214432"/>
                <a:gd name="T8" fmla="*/ 178082 w 1216023"/>
                <a:gd name="T9" fmla="*/ 177849 h 1214432"/>
                <a:gd name="T10" fmla="*/ 178082 w 1216023"/>
                <a:gd name="T11" fmla="*/ 1036583 h 1214432"/>
                <a:gd name="T12" fmla="*/ 1037941 w 1216023"/>
                <a:gd name="T13" fmla="*/ 1036583 h 1214432"/>
                <a:gd name="T14" fmla="*/ 1037941 w 1216023"/>
                <a:gd name="T15" fmla="*/ 177849 h 1214432"/>
                <a:gd name="T16" fmla="*/ 17694720 60000 65536"/>
                <a:gd name="T17" fmla="*/ 0 60000 65536"/>
                <a:gd name="T18" fmla="*/ 5898240 60000 65536"/>
                <a:gd name="T19" fmla="*/ 11796480 60000 65536"/>
                <a:gd name="T20" fmla="*/ 17694720 60000 65536"/>
                <a:gd name="T21" fmla="*/ 5898240 60000 65536"/>
                <a:gd name="T22" fmla="*/ 5898240 60000 65536"/>
                <a:gd name="T23" fmla="*/ 17694720 60000 65536"/>
                <a:gd name="T24" fmla="*/ 178082 w 1216023"/>
                <a:gd name="T25" fmla="*/ 177849 h 1214432"/>
                <a:gd name="T26" fmla="*/ 1037941 w 1216023"/>
                <a:gd name="T27" fmla="*/ 1036583 h 12144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16023" h="1214432">
                  <a:moveTo>
                    <a:pt x="0" y="607216"/>
                  </a:moveTo>
                  <a:lnTo>
                    <a:pt x="0" y="607216"/>
                  </a:lnTo>
                  <a:cubicBezTo>
                    <a:pt x="0" y="942572"/>
                    <a:pt x="272216" y="1214432"/>
                    <a:pt x="608012" y="1214432"/>
                  </a:cubicBezTo>
                  <a:cubicBezTo>
                    <a:pt x="943807" y="1214432"/>
                    <a:pt x="1216024" y="942572"/>
                    <a:pt x="1216024" y="607216"/>
                  </a:cubicBezTo>
                  <a:cubicBezTo>
                    <a:pt x="1216024" y="271859"/>
                    <a:pt x="943807" y="0"/>
                    <a:pt x="608012" y="0"/>
                  </a:cubicBezTo>
                  <a:cubicBezTo>
                    <a:pt x="272216" y="0"/>
                    <a:pt x="0" y="271859"/>
                    <a:pt x="0" y="607215"/>
                  </a:cubicBezTo>
                  <a:lnTo>
                    <a:pt x="0" y="607216"/>
                  </a:lnTo>
                  <a:close/>
                </a:path>
              </a:pathLst>
            </a:custGeom>
            <a:solidFill>
              <a:srgbClr val="7F7F7F"/>
            </a:solidFill>
            <a:ln>
              <a:noFill/>
            </a:ln>
            <a:extLst>
              <a:ext uri="{91240B29-F687-4F45-9708-019B960494DF}">
                <a14:hiddenLine xmlns:a14="http://schemas.microsoft.com/office/drawing/2010/main" w="9525" cap="flat">
                  <a:solidFill>
                    <a:srgbClr val="000000"/>
                  </a:solidFill>
                  <a:prstDash val="solid"/>
                  <a:round/>
                  <a:headEnd/>
                  <a:tailEnd/>
                </a14:hiddenLine>
              </a:ext>
            </a:extLst>
          </p:spPr>
          <p:txBody>
            <a:bodyPr anchor="ctr" anchorCtr="1"/>
            <a:lstStyle/>
            <a:p>
              <a:endParaRPr lang="it-IT"/>
            </a:p>
          </p:txBody>
        </p:sp>
        <p:grpSp>
          <p:nvGrpSpPr>
            <p:cNvPr id="134194" name="Gruppo 17">
              <a:extLst>
                <a:ext uri="{FF2B5EF4-FFF2-40B4-BE49-F238E27FC236}">
                  <a16:creationId xmlns:a16="http://schemas.microsoft.com/office/drawing/2014/main" id="{132C9A1D-EB37-8D48-BBBE-095F457605C1}"/>
                </a:ext>
              </a:extLst>
            </p:cNvPr>
            <p:cNvGrpSpPr>
              <a:grpSpLocks/>
            </p:cNvGrpSpPr>
            <p:nvPr/>
          </p:nvGrpSpPr>
          <p:grpSpPr bwMode="auto">
            <a:xfrm>
              <a:off x="4289459" y="2706687"/>
              <a:ext cx="660324" cy="707161"/>
              <a:chOff x="4289459" y="2706687"/>
              <a:chExt cx="660324" cy="707161"/>
            </a:xfrm>
          </p:grpSpPr>
          <p:pic>
            <p:nvPicPr>
              <p:cNvPr id="134195" name="Picture 2" descr="Immagine correlata">
                <a:extLst>
                  <a:ext uri="{FF2B5EF4-FFF2-40B4-BE49-F238E27FC236}">
                    <a16:creationId xmlns:a16="http://schemas.microsoft.com/office/drawing/2014/main" id="{4AEA4AC2-3B36-A24D-B067-048107F89395}"/>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4289459" y="2817687"/>
                <a:ext cx="660324" cy="596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34196" name="Gruppo 8">
                <a:extLst>
                  <a:ext uri="{FF2B5EF4-FFF2-40B4-BE49-F238E27FC236}">
                    <a16:creationId xmlns:a16="http://schemas.microsoft.com/office/drawing/2014/main" id="{178C716E-58F6-CA45-B6DE-1861D311D4F6}"/>
                  </a:ext>
                </a:extLst>
              </p:cNvPr>
              <p:cNvGrpSpPr>
                <a:grpSpLocks/>
              </p:cNvGrpSpPr>
              <p:nvPr/>
            </p:nvGrpSpPr>
            <p:grpSpPr bwMode="auto">
              <a:xfrm>
                <a:off x="4356101" y="2706688"/>
                <a:ext cx="165104" cy="155576"/>
                <a:chOff x="4356101" y="2706688"/>
                <a:chExt cx="165104" cy="155576"/>
              </a:xfrm>
            </p:grpSpPr>
            <p:sp>
              <p:nvSpPr>
                <p:cNvPr id="134209" name="Forma 44">
                  <a:extLst>
                    <a:ext uri="{FF2B5EF4-FFF2-40B4-BE49-F238E27FC236}">
                      <a16:creationId xmlns:a16="http://schemas.microsoft.com/office/drawing/2014/main" id="{B018F0C1-C920-2C47-8337-0F654FB5C978}"/>
                    </a:ext>
                  </a:extLst>
                </p:cNvPr>
                <p:cNvSpPr>
                  <a:spLocks/>
                </p:cNvSpPr>
                <p:nvPr/>
              </p:nvSpPr>
              <p:spPr bwMode="auto">
                <a:xfrm rot="-899986">
                  <a:off x="4356101" y="2706688"/>
                  <a:ext cx="165104" cy="155576"/>
                </a:xfrm>
                <a:custGeom>
                  <a:avLst/>
                  <a:gdLst>
                    <a:gd name="T0" fmla="*/ 82552 w 165104"/>
                    <a:gd name="T1" fmla="*/ 0 h 155576"/>
                    <a:gd name="T2" fmla="*/ 165104 w 165104"/>
                    <a:gd name="T3" fmla="*/ 77788 h 155576"/>
                    <a:gd name="T4" fmla="*/ 82552 w 165104"/>
                    <a:gd name="T5" fmla="*/ 155576 h 155576"/>
                    <a:gd name="T6" fmla="*/ 0 w 165104"/>
                    <a:gd name="T7" fmla="*/ 77788 h 155576"/>
                    <a:gd name="T8" fmla="*/ 151891 w 165104"/>
                    <a:gd name="T9" fmla="*/ 39059 h 155576"/>
                    <a:gd name="T10" fmla="*/ 151891 w 165104"/>
                    <a:gd name="T11" fmla="*/ 116517 h 155576"/>
                    <a:gd name="T12" fmla="*/ 82552 w 165104"/>
                    <a:gd name="T13" fmla="*/ 153764 h 155576"/>
                    <a:gd name="T14" fmla="*/ 8 w 165104"/>
                    <a:gd name="T15" fmla="*/ 116517 h 155576"/>
                    <a:gd name="T16" fmla="*/ 8 w 165104"/>
                    <a:gd name="T17" fmla="*/ 39059 h 155576"/>
                    <a:gd name="T18" fmla="*/ 82552 w 165104"/>
                    <a:gd name="T19" fmla="*/ 1812 h 155576"/>
                    <a:gd name="T20" fmla="*/ 17694720 60000 65536"/>
                    <a:gd name="T21" fmla="*/ 0 60000 65536"/>
                    <a:gd name="T22" fmla="*/ 5898240 60000 65536"/>
                    <a:gd name="T23" fmla="*/ 11796480 60000 65536"/>
                    <a:gd name="T24" fmla="*/ 0 60000 65536"/>
                    <a:gd name="T25" fmla="*/ 0 60000 65536"/>
                    <a:gd name="T26" fmla="*/ 5898240 60000 65536"/>
                    <a:gd name="T27" fmla="*/ 11796480 60000 65536"/>
                    <a:gd name="T28" fmla="*/ 11796480 60000 65536"/>
                    <a:gd name="T29" fmla="*/ 17694720 60000 65536"/>
                    <a:gd name="T30" fmla="*/ 40552 w 165104"/>
                    <a:gd name="T31" fmla="*/ 39403 h 155576"/>
                    <a:gd name="T32" fmla="*/ 124552 w 165104"/>
                    <a:gd name="T33" fmla="*/ 116173 h 15557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5104" h="155576">
                      <a:moveTo>
                        <a:pt x="124552" y="39403"/>
                      </a:moveTo>
                      <a:lnTo>
                        <a:pt x="147233" y="31640"/>
                      </a:lnTo>
                      <a:lnTo>
                        <a:pt x="156549" y="46479"/>
                      </a:lnTo>
                      <a:lnTo>
                        <a:pt x="139702" y="63533"/>
                      </a:lnTo>
                      <a:lnTo>
                        <a:pt x="139701" y="63533"/>
                      </a:lnTo>
                      <a:cubicBezTo>
                        <a:pt x="141072" y="68179"/>
                        <a:pt x="141767" y="72973"/>
                        <a:pt x="141767" y="77788"/>
                      </a:cubicBezTo>
                      <a:cubicBezTo>
                        <a:pt x="141767" y="82602"/>
                        <a:pt x="141072" y="87396"/>
                        <a:pt x="139701" y="92042"/>
                      </a:cubicBezTo>
                      <a:lnTo>
                        <a:pt x="156549" y="109097"/>
                      </a:lnTo>
                      <a:lnTo>
                        <a:pt x="147233" y="123936"/>
                      </a:lnTo>
                      <a:lnTo>
                        <a:pt x="124552" y="116173"/>
                      </a:lnTo>
                      <a:lnTo>
                        <a:pt x="124551" y="116172"/>
                      </a:lnTo>
                      <a:cubicBezTo>
                        <a:pt x="117137" y="123032"/>
                        <a:pt x="107869" y="127952"/>
                        <a:pt x="97701" y="130427"/>
                      </a:cubicBezTo>
                      <a:lnTo>
                        <a:pt x="92217" y="153764"/>
                      </a:lnTo>
                      <a:lnTo>
                        <a:pt x="72887" y="153764"/>
                      </a:lnTo>
                      <a:lnTo>
                        <a:pt x="67402" y="130427"/>
                      </a:lnTo>
                      <a:lnTo>
                        <a:pt x="67402" y="130426"/>
                      </a:lnTo>
                      <a:cubicBezTo>
                        <a:pt x="57234" y="127952"/>
                        <a:pt x="47966" y="123032"/>
                        <a:pt x="40551" y="116172"/>
                      </a:cubicBezTo>
                      <a:lnTo>
                        <a:pt x="17871" y="123936"/>
                      </a:lnTo>
                      <a:lnTo>
                        <a:pt x="8555" y="109097"/>
                      </a:lnTo>
                      <a:lnTo>
                        <a:pt x="25402" y="92043"/>
                      </a:lnTo>
                      <a:lnTo>
                        <a:pt x="25402" y="92042"/>
                      </a:lnTo>
                      <a:cubicBezTo>
                        <a:pt x="24031" y="87396"/>
                        <a:pt x="23337" y="82602"/>
                        <a:pt x="23337" y="77788"/>
                      </a:cubicBezTo>
                      <a:cubicBezTo>
                        <a:pt x="23337" y="72973"/>
                        <a:pt x="24031" y="68179"/>
                        <a:pt x="25402" y="63533"/>
                      </a:cubicBezTo>
                      <a:lnTo>
                        <a:pt x="8555" y="46479"/>
                      </a:lnTo>
                      <a:lnTo>
                        <a:pt x="17871" y="31640"/>
                      </a:lnTo>
                      <a:lnTo>
                        <a:pt x="40552" y="39403"/>
                      </a:lnTo>
                      <a:cubicBezTo>
                        <a:pt x="47966" y="32543"/>
                        <a:pt x="57234" y="27623"/>
                        <a:pt x="67402" y="25148"/>
                      </a:cubicBezTo>
                      <a:lnTo>
                        <a:pt x="72887" y="1812"/>
                      </a:lnTo>
                      <a:lnTo>
                        <a:pt x="92217" y="1812"/>
                      </a:lnTo>
                      <a:lnTo>
                        <a:pt x="97702" y="25149"/>
                      </a:lnTo>
                      <a:lnTo>
                        <a:pt x="97701" y="25149"/>
                      </a:lnTo>
                      <a:cubicBezTo>
                        <a:pt x="107869" y="27623"/>
                        <a:pt x="117137" y="32543"/>
                        <a:pt x="124552" y="39403"/>
                      </a:cubicBezTo>
                      <a:close/>
                    </a:path>
                  </a:pathLst>
                </a:custGeom>
                <a:solidFill>
                  <a:srgbClr val="000000"/>
                </a:solidFill>
                <a:ln>
                  <a:noFill/>
                </a:ln>
                <a:extLst>
                  <a:ext uri="{91240B29-F687-4F45-9708-019B960494DF}">
                    <a14:hiddenLine xmlns:a14="http://schemas.microsoft.com/office/drawing/2010/main" w="9525" cap="flat">
                      <a:solidFill>
                        <a:srgbClr val="000000"/>
                      </a:solidFill>
                      <a:prstDash val="solid"/>
                      <a:round/>
                      <a:headEnd/>
                      <a:tailEnd/>
                    </a14:hiddenLine>
                  </a:ext>
                </a:extLst>
              </p:spPr>
              <p:txBody>
                <a:bodyPr lIns="0" tIns="0" rIns="0" bIns="0"/>
                <a:lstStyle/>
                <a:p>
                  <a:endParaRPr lang="it-IT"/>
                </a:p>
              </p:txBody>
            </p:sp>
            <p:sp>
              <p:nvSpPr>
                <p:cNvPr id="134210" name="Forma 4">
                  <a:extLst>
                    <a:ext uri="{FF2B5EF4-FFF2-40B4-BE49-F238E27FC236}">
                      <a16:creationId xmlns:a16="http://schemas.microsoft.com/office/drawing/2014/main" id="{3BD11540-B44D-E241-AACF-E0D6826F45CE}"/>
                    </a:ext>
                  </a:extLst>
                </p:cNvPr>
                <p:cNvSpPr txBox="1">
                  <a:spLocks noChangeArrowheads="1"/>
                </p:cNvSpPr>
                <p:nvPr/>
              </p:nvSpPr>
              <p:spPr bwMode="auto">
                <a:xfrm>
                  <a:off x="4392613" y="2740027"/>
                  <a:ext cx="92070" cy="888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7944" tIns="27944" rIns="27944" bIns="27944" anchor="ctr" anchorCtr="1"/>
                <a:lstStyle>
                  <a:lvl1pPr defTabSz="976313">
                    <a:defRPr>
                      <a:solidFill>
                        <a:schemeClr val="tx1"/>
                      </a:solidFill>
                      <a:latin typeface="Calibri" panose="020F0502020204030204" pitchFamily="34" charset="0"/>
                    </a:defRPr>
                  </a:lvl1pPr>
                  <a:lvl2pPr marL="742950" indent="-285750" defTabSz="976313">
                    <a:defRPr>
                      <a:solidFill>
                        <a:schemeClr val="tx1"/>
                      </a:solidFill>
                      <a:latin typeface="Calibri" panose="020F0502020204030204" pitchFamily="34" charset="0"/>
                    </a:defRPr>
                  </a:lvl2pPr>
                  <a:lvl3pPr marL="1143000" indent="-228600" defTabSz="976313">
                    <a:defRPr>
                      <a:solidFill>
                        <a:schemeClr val="tx1"/>
                      </a:solidFill>
                      <a:latin typeface="Calibri" panose="020F0502020204030204" pitchFamily="34" charset="0"/>
                    </a:defRPr>
                  </a:lvl3pPr>
                  <a:lvl4pPr marL="1600200" indent="-228600" defTabSz="976313">
                    <a:defRPr>
                      <a:solidFill>
                        <a:schemeClr val="tx1"/>
                      </a:solidFill>
                      <a:latin typeface="Calibri" panose="020F0502020204030204" pitchFamily="34" charset="0"/>
                    </a:defRPr>
                  </a:lvl4pPr>
                  <a:lvl5pPr marL="2057400" indent="-228600" defTabSz="976313">
                    <a:defRPr>
                      <a:solidFill>
                        <a:schemeClr val="tx1"/>
                      </a:solidFill>
                      <a:latin typeface="Calibri" panose="020F0502020204030204" pitchFamily="34" charset="0"/>
                    </a:defRPr>
                  </a:lvl5pPr>
                  <a:lvl6pPr marL="2514600" indent="-228600" defTabSz="976313" eaLnBrk="0" fontAlgn="base" hangingPunct="0">
                    <a:spcBef>
                      <a:spcPct val="0"/>
                    </a:spcBef>
                    <a:spcAft>
                      <a:spcPct val="0"/>
                    </a:spcAft>
                    <a:defRPr>
                      <a:solidFill>
                        <a:schemeClr val="tx1"/>
                      </a:solidFill>
                      <a:latin typeface="Calibri" panose="020F0502020204030204" pitchFamily="34" charset="0"/>
                    </a:defRPr>
                  </a:lvl6pPr>
                  <a:lvl7pPr marL="2971800" indent="-228600" defTabSz="976313" eaLnBrk="0" fontAlgn="base" hangingPunct="0">
                    <a:spcBef>
                      <a:spcPct val="0"/>
                    </a:spcBef>
                    <a:spcAft>
                      <a:spcPct val="0"/>
                    </a:spcAft>
                    <a:defRPr>
                      <a:solidFill>
                        <a:schemeClr val="tx1"/>
                      </a:solidFill>
                      <a:latin typeface="Calibri" panose="020F0502020204030204" pitchFamily="34" charset="0"/>
                    </a:defRPr>
                  </a:lvl7pPr>
                  <a:lvl8pPr marL="3429000" indent="-228600" defTabSz="976313" eaLnBrk="0" fontAlgn="base" hangingPunct="0">
                    <a:spcBef>
                      <a:spcPct val="0"/>
                    </a:spcBef>
                    <a:spcAft>
                      <a:spcPct val="0"/>
                    </a:spcAft>
                    <a:defRPr>
                      <a:solidFill>
                        <a:schemeClr val="tx1"/>
                      </a:solidFill>
                      <a:latin typeface="Calibri" panose="020F0502020204030204" pitchFamily="34" charset="0"/>
                    </a:defRPr>
                  </a:lvl8pPr>
                  <a:lvl9pPr marL="3886200" indent="-228600" defTabSz="976313" eaLnBrk="0" fontAlgn="base" hangingPunct="0">
                    <a:spcBef>
                      <a:spcPct val="0"/>
                    </a:spcBef>
                    <a:spcAft>
                      <a:spcPct val="0"/>
                    </a:spcAft>
                    <a:defRPr>
                      <a:solidFill>
                        <a:schemeClr val="tx1"/>
                      </a:solidFill>
                      <a:latin typeface="Calibri" panose="020F0502020204030204" pitchFamily="34" charset="0"/>
                    </a:defRPr>
                  </a:lvl9pPr>
                </a:lstStyle>
                <a:p>
                  <a:pPr algn="ctr">
                    <a:lnSpc>
                      <a:spcPct val="90000"/>
                    </a:lnSpc>
                    <a:spcAft>
                      <a:spcPts val="900"/>
                    </a:spcAft>
                  </a:pPr>
                  <a:endParaRPr lang="it-IT" altLang="it-IT" sz="2200">
                    <a:solidFill>
                      <a:srgbClr val="FFFFFF"/>
                    </a:solidFill>
                    <a:latin typeface="Arial" panose="020B0604020202020204" pitchFamily="34" charset="0"/>
                    <a:cs typeface="Arial" panose="020B0604020202020204" pitchFamily="34" charset="0"/>
                  </a:endParaRPr>
                </a:p>
              </p:txBody>
            </p:sp>
          </p:grpSp>
          <p:sp>
            <p:nvSpPr>
              <p:cNvPr id="134197" name="Ovale 32">
                <a:extLst>
                  <a:ext uri="{FF2B5EF4-FFF2-40B4-BE49-F238E27FC236}">
                    <a16:creationId xmlns:a16="http://schemas.microsoft.com/office/drawing/2014/main" id="{A3C543ED-6222-6046-9382-C748F3B0F24A}"/>
                  </a:ext>
                </a:extLst>
              </p:cNvPr>
              <p:cNvSpPr>
                <a:spLocks/>
              </p:cNvSpPr>
              <p:nvPr/>
            </p:nvSpPr>
            <p:spPr bwMode="auto">
              <a:xfrm>
                <a:off x="4400549" y="2749545"/>
                <a:ext cx="76196" cy="69851"/>
              </a:xfrm>
              <a:custGeom>
                <a:avLst/>
                <a:gdLst>
                  <a:gd name="T0" fmla="*/ 38098 w 76196"/>
                  <a:gd name="T1" fmla="*/ 0 h 69851"/>
                  <a:gd name="T2" fmla="*/ 76196 w 76196"/>
                  <a:gd name="T3" fmla="*/ 34926 h 69851"/>
                  <a:gd name="T4" fmla="*/ 38098 w 76196"/>
                  <a:gd name="T5" fmla="*/ 69851 h 69851"/>
                  <a:gd name="T6" fmla="*/ 0 w 76196"/>
                  <a:gd name="T7" fmla="*/ 34926 h 69851"/>
                  <a:gd name="T8" fmla="*/ 11159 w 76196"/>
                  <a:gd name="T9" fmla="*/ 10229 h 69851"/>
                  <a:gd name="T10" fmla="*/ 11159 w 76196"/>
                  <a:gd name="T11" fmla="*/ 59622 h 69851"/>
                  <a:gd name="T12" fmla="*/ 65037 w 76196"/>
                  <a:gd name="T13" fmla="*/ 59622 h 69851"/>
                  <a:gd name="T14" fmla="*/ 65037 w 76196"/>
                  <a:gd name="T15" fmla="*/ 10229 h 69851"/>
                  <a:gd name="T16" fmla="*/ 17694720 60000 65536"/>
                  <a:gd name="T17" fmla="*/ 0 60000 65536"/>
                  <a:gd name="T18" fmla="*/ 5898240 60000 65536"/>
                  <a:gd name="T19" fmla="*/ 11796480 60000 65536"/>
                  <a:gd name="T20" fmla="*/ 17694720 60000 65536"/>
                  <a:gd name="T21" fmla="*/ 5898240 60000 65536"/>
                  <a:gd name="T22" fmla="*/ 5898240 60000 65536"/>
                  <a:gd name="T23" fmla="*/ 17694720 60000 65536"/>
                  <a:gd name="T24" fmla="*/ 11159 w 76196"/>
                  <a:gd name="T25" fmla="*/ 10229 h 69851"/>
                  <a:gd name="T26" fmla="*/ 65037 w 76196"/>
                  <a:gd name="T27" fmla="*/ 59622 h 698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6196" h="69851">
                    <a:moveTo>
                      <a:pt x="0" y="34926"/>
                    </a:moveTo>
                    <a:lnTo>
                      <a:pt x="0" y="34926"/>
                    </a:lnTo>
                    <a:cubicBezTo>
                      <a:pt x="0" y="54215"/>
                      <a:pt x="17057" y="69852"/>
                      <a:pt x="38098" y="69852"/>
                    </a:cubicBezTo>
                    <a:cubicBezTo>
                      <a:pt x="59138" y="69852"/>
                      <a:pt x="76196" y="54215"/>
                      <a:pt x="76196" y="34926"/>
                    </a:cubicBezTo>
                    <a:cubicBezTo>
                      <a:pt x="76196" y="15636"/>
                      <a:pt x="59138" y="0"/>
                      <a:pt x="38098" y="0"/>
                    </a:cubicBezTo>
                    <a:cubicBezTo>
                      <a:pt x="17057" y="0"/>
                      <a:pt x="0" y="15636"/>
                      <a:pt x="0" y="34925"/>
                    </a:cubicBezTo>
                    <a:lnTo>
                      <a:pt x="0" y="34926"/>
                    </a:lnTo>
                    <a:close/>
                  </a:path>
                </a:pathLst>
              </a:custGeom>
              <a:solidFill>
                <a:srgbClr val="FFFFFF"/>
              </a:solidFill>
              <a:ln>
                <a:noFill/>
              </a:ln>
              <a:extLst>
                <a:ext uri="{91240B29-F687-4F45-9708-019B960494DF}">
                  <a14:hiddenLine xmlns:a14="http://schemas.microsoft.com/office/drawing/2010/main" w="9525" cap="flat">
                    <a:solidFill>
                      <a:srgbClr val="000000"/>
                    </a:solidFill>
                    <a:prstDash val="solid"/>
                    <a:round/>
                    <a:headEnd/>
                    <a:tailEnd/>
                  </a14:hiddenLine>
                </a:ext>
              </a:extLst>
            </p:spPr>
            <p:txBody>
              <a:bodyPr anchor="ctr" anchorCtr="1"/>
              <a:lstStyle/>
              <a:p>
                <a:endParaRPr lang="it-IT"/>
              </a:p>
            </p:txBody>
          </p:sp>
          <p:sp>
            <p:nvSpPr>
              <p:cNvPr id="134198" name="Ovale 33">
                <a:extLst>
                  <a:ext uri="{FF2B5EF4-FFF2-40B4-BE49-F238E27FC236}">
                    <a16:creationId xmlns:a16="http://schemas.microsoft.com/office/drawing/2014/main" id="{646C41B2-95FB-0A4D-BCF5-F4AE928CA1C1}"/>
                  </a:ext>
                </a:extLst>
              </p:cNvPr>
              <p:cNvSpPr>
                <a:spLocks/>
              </p:cNvSpPr>
              <p:nvPr/>
            </p:nvSpPr>
            <p:spPr bwMode="auto">
              <a:xfrm>
                <a:off x="4419596" y="2767010"/>
                <a:ext cx="38103" cy="34920"/>
              </a:xfrm>
              <a:custGeom>
                <a:avLst/>
                <a:gdLst>
                  <a:gd name="T0" fmla="*/ 19052 w 38103"/>
                  <a:gd name="T1" fmla="*/ 0 h 34920"/>
                  <a:gd name="T2" fmla="*/ 38103 w 38103"/>
                  <a:gd name="T3" fmla="*/ 17460 h 34920"/>
                  <a:gd name="T4" fmla="*/ 19052 w 38103"/>
                  <a:gd name="T5" fmla="*/ 34920 h 34920"/>
                  <a:gd name="T6" fmla="*/ 0 w 38103"/>
                  <a:gd name="T7" fmla="*/ 17460 h 34920"/>
                  <a:gd name="T8" fmla="*/ 5580 w 38103"/>
                  <a:gd name="T9" fmla="*/ 5114 h 34920"/>
                  <a:gd name="T10" fmla="*/ 5580 w 38103"/>
                  <a:gd name="T11" fmla="*/ 29806 h 34920"/>
                  <a:gd name="T12" fmla="*/ 32523 w 38103"/>
                  <a:gd name="T13" fmla="*/ 29806 h 34920"/>
                  <a:gd name="T14" fmla="*/ 32523 w 38103"/>
                  <a:gd name="T15" fmla="*/ 5114 h 34920"/>
                  <a:gd name="T16" fmla="*/ 17694720 60000 65536"/>
                  <a:gd name="T17" fmla="*/ 0 60000 65536"/>
                  <a:gd name="T18" fmla="*/ 5898240 60000 65536"/>
                  <a:gd name="T19" fmla="*/ 11796480 60000 65536"/>
                  <a:gd name="T20" fmla="*/ 17694720 60000 65536"/>
                  <a:gd name="T21" fmla="*/ 5898240 60000 65536"/>
                  <a:gd name="T22" fmla="*/ 5898240 60000 65536"/>
                  <a:gd name="T23" fmla="*/ 17694720 60000 65536"/>
                  <a:gd name="T24" fmla="*/ 5580 w 38103"/>
                  <a:gd name="T25" fmla="*/ 5114 h 34920"/>
                  <a:gd name="T26" fmla="*/ 32523 w 38103"/>
                  <a:gd name="T27" fmla="*/ 29806 h 349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8103" h="34920">
                    <a:moveTo>
                      <a:pt x="0" y="17460"/>
                    </a:moveTo>
                    <a:lnTo>
                      <a:pt x="0" y="17460"/>
                    </a:lnTo>
                    <a:cubicBezTo>
                      <a:pt x="0" y="27102"/>
                      <a:pt x="8529" y="34920"/>
                      <a:pt x="19052" y="34920"/>
                    </a:cubicBezTo>
                    <a:cubicBezTo>
                      <a:pt x="29574" y="34920"/>
                      <a:pt x="38104" y="27102"/>
                      <a:pt x="38104" y="17460"/>
                    </a:cubicBezTo>
                    <a:cubicBezTo>
                      <a:pt x="38104" y="7817"/>
                      <a:pt x="29574" y="0"/>
                      <a:pt x="19052" y="0"/>
                    </a:cubicBezTo>
                    <a:cubicBezTo>
                      <a:pt x="8529" y="0"/>
                      <a:pt x="0" y="7817"/>
                      <a:pt x="0" y="17459"/>
                    </a:cubicBezTo>
                    <a:lnTo>
                      <a:pt x="0" y="17460"/>
                    </a:lnTo>
                    <a:close/>
                  </a:path>
                </a:pathLst>
              </a:custGeom>
              <a:solidFill>
                <a:srgbClr val="000000"/>
              </a:solidFill>
              <a:ln>
                <a:noFill/>
              </a:ln>
              <a:extLst>
                <a:ext uri="{91240B29-F687-4F45-9708-019B960494DF}">
                  <a14:hiddenLine xmlns:a14="http://schemas.microsoft.com/office/drawing/2010/main" w="9525" cap="flat">
                    <a:solidFill>
                      <a:srgbClr val="000000"/>
                    </a:solidFill>
                    <a:prstDash val="solid"/>
                    <a:round/>
                    <a:headEnd/>
                    <a:tailEnd/>
                  </a14:hiddenLine>
                </a:ext>
              </a:extLst>
            </p:spPr>
            <p:txBody>
              <a:bodyPr anchor="ctr" anchorCtr="1"/>
              <a:lstStyle/>
              <a:p>
                <a:endParaRPr lang="it-IT"/>
              </a:p>
            </p:txBody>
          </p:sp>
          <p:grpSp>
            <p:nvGrpSpPr>
              <p:cNvPr id="134199" name="Gruppo 19">
                <a:extLst>
                  <a:ext uri="{FF2B5EF4-FFF2-40B4-BE49-F238E27FC236}">
                    <a16:creationId xmlns:a16="http://schemas.microsoft.com/office/drawing/2014/main" id="{C916CD9B-2398-C240-BFB8-F0F87F584BC8}"/>
                  </a:ext>
                </a:extLst>
              </p:cNvPr>
              <p:cNvGrpSpPr>
                <a:grpSpLocks/>
              </p:cNvGrpSpPr>
              <p:nvPr/>
            </p:nvGrpSpPr>
            <p:grpSpPr bwMode="auto">
              <a:xfrm>
                <a:off x="4529133" y="2706687"/>
                <a:ext cx="166685" cy="155576"/>
                <a:chOff x="4529133" y="2706687"/>
                <a:chExt cx="166685" cy="155576"/>
              </a:xfrm>
            </p:grpSpPr>
            <p:sp>
              <p:nvSpPr>
                <p:cNvPr id="134207" name="Forma 42">
                  <a:extLst>
                    <a:ext uri="{FF2B5EF4-FFF2-40B4-BE49-F238E27FC236}">
                      <a16:creationId xmlns:a16="http://schemas.microsoft.com/office/drawing/2014/main" id="{D4DA2223-53CB-4B4A-9273-06704A8414C2}"/>
                    </a:ext>
                  </a:extLst>
                </p:cNvPr>
                <p:cNvSpPr>
                  <a:spLocks/>
                </p:cNvSpPr>
                <p:nvPr/>
              </p:nvSpPr>
              <p:spPr bwMode="auto">
                <a:xfrm rot="-899986">
                  <a:off x="4529133" y="2706687"/>
                  <a:ext cx="166685" cy="155576"/>
                </a:xfrm>
                <a:custGeom>
                  <a:avLst/>
                  <a:gdLst>
                    <a:gd name="T0" fmla="*/ 83343 w 166685"/>
                    <a:gd name="T1" fmla="*/ 0 h 155576"/>
                    <a:gd name="T2" fmla="*/ 166685 w 166685"/>
                    <a:gd name="T3" fmla="*/ 77788 h 155576"/>
                    <a:gd name="T4" fmla="*/ 83343 w 166685"/>
                    <a:gd name="T5" fmla="*/ 155576 h 155576"/>
                    <a:gd name="T6" fmla="*/ 0 w 166685"/>
                    <a:gd name="T7" fmla="*/ 77788 h 155576"/>
                    <a:gd name="T8" fmla="*/ 153269 w 166685"/>
                    <a:gd name="T9" fmla="*/ 38941 h 155576"/>
                    <a:gd name="T10" fmla="*/ 153269 w 166685"/>
                    <a:gd name="T11" fmla="*/ 116635 h 155576"/>
                    <a:gd name="T12" fmla="*/ 83343 w 166685"/>
                    <a:gd name="T13" fmla="*/ 153764 h 155576"/>
                    <a:gd name="T14" fmla="*/ 8 w 166685"/>
                    <a:gd name="T15" fmla="*/ 116635 h 155576"/>
                    <a:gd name="T16" fmla="*/ 8 w 166685"/>
                    <a:gd name="T17" fmla="*/ 38941 h 155576"/>
                    <a:gd name="T18" fmla="*/ 83343 w 166685"/>
                    <a:gd name="T19" fmla="*/ 1812 h 155576"/>
                    <a:gd name="T20" fmla="*/ 17694720 60000 65536"/>
                    <a:gd name="T21" fmla="*/ 0 60000 65536"/>
                    <a:gd name="T22" fmla="*/ 5898240 60000 65536"/>
                    <a:gd name="T23" fmla="*/ 11796480 60000 65536"/>
                    <a:gd name="T24" fmla="*/ 0 60000 65536"/>
                    <a:gd name="T25" fmla="*/ 0 60000 65536"/>
                    <a:gd name="T26" fmla="*/ 5898240 60000 65536"/>
                    <a:gd name="T27" fmla="*/ 11796480 60000 65536"/>
                    <a:gd name="T28" fmla="*/ 11796480 60000 65536"/>
                    <a:gd name="T29" fmla="*/ 17694720 60000 65536"/>
                    <a:gd name="T30" fmla="*/ 40782 w 166685"/>
                    <a:gd name="T31" fmla="*/ 39403 h 155576"/>
                    <a:gd name="T32" fmla="*/ 125903 w 166685"/>
                    <a:gd name="T33" fmla="*/ 116173 h 15557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6685" h="155576">
                      <a:moveTo>
                        <a:pt x="125903" y="39403"/>
                      </a:moveTo>
                      <a:lnTo>
                        <a:pt x="148537" y="31505"/>
                      </a:lnTo>
                      <a:lnTo>
                        <a:pt x="158000" y="46378"/>
                      </a:lnTo>
                      <a:lnTo>
                        <a:pt x="141256" y="63533"/>
                      </a:lnTo>
                      <a:lnTo>
                        <a:pt x="141256" y="63532"/>
                      </a:lnTo>
                      <a:cubicBezTo>
                        <a:pt x="142645" y="68179"/>
                        <a:pt x="143349" y="72973"/>
                        <a:pt x="143349" y="77788"/>
                      </a:cubicBezTo>
                      <a:cubicBezTo>
                        <a:pt x="143349" y="82602"/>
                        <a:pt x="142645" y="87395"/>
                        <a:pt x="141256" y="92042"/>
                      </a:cubicBezTo>
                      <a:lnTo>
                        <a:pt x="158000" y="109198"/>
                      </a:lnTo>
                      <a:lnTo>
                        <a:pt x="148537" y="124071"/>
                      </a:lnTo>
                      <a:lnTo>
                        <a:pt x="125903" y="116173"/>
                      </a:lnTo>
                      <a:lnTo>
                        <a:pt x="125902" y="116172"/>
                      </a:lnTo>
                      <a:cubicBezTo>
                        <a:pt x="118389" y="123032"/>
                        <a:pt x="108998" y="127953"/>
                        <a:pt x="98694" y="130427"/>
                      </a:cubicBezTo>
                      <a:lnTo>
                        <a:pt x="93209" y="153764"/>
                      </a:lnTo>
                      <a:lnTo>
                        <a:pt x="73476" y="153764"/>
                      </a:lnTo>
                      <a:lnTo>
                        <a:pt x="67990" y="130427"/>
                      </a:lnTo>
                      <a:lnTo>
                        <a:pt x="67990" y="130426"/>
                      </a:lnTo>
                      <a:cubicBezTo>
                        <a:pt x="57686" y="127952"/>
                        <a:pt x="48295" y="123031"/>
                        <a:pt x="40782" y="116171"/>
                      </a:cubicBezTo>
                      <a:lnTo>
                        <a:pt x="18148" y="124071"/>
                      </a:lnTo>
                      <a:lnTo>
                        <a:pt x="8685" y="109198"/>
                      </a:lnTo>
                      <a:lnTo>
                        <a:pt x="25429" y="92043"/>
                      </a:lnTo>
                      <a:lnTo>
                        <a:pt x="25428" y="92043"/>
                      </a:lnTo>
                      <a:cubicBezTo>
                        <a:pt x="24039" y="87396"/>
                        <a:pt x="23336" y="82602"/>
                        <a:pt x="23336" y="77788"/>
                      </a:cubicBezTo>
                      <a:cubicBezTo>
                        <a:pt x="23336" y="72973"/>
                        <a:pt x="24039" y="68180"/>
                        <a:pt x="25428" y="63533"/>
                      </a:cubicBezTo>
                      <a:lnTo>
                        <a:pt x="8685" y="46378"/>
                      </a:lnTo>
                      <a:lnTo>
                        <a:pt x="18148" y="31505"/>
                      </a:lnTo>
                      <a:lnTo>
                        <a:pt x="40782" y="39403"/>
                      </a:lnTo>
                      <a:cubicBezTo>
                        <a:pt x="48295" y="32543"/>
                        <a:pt x="57686" y="27622"/>
                        <a:pt x="67990" y="25148"/>
                      </a:cubicBezTo>
                      <a:lnTo>
                        <a:pt x="73476" y="1812"/>
                      </a:lnTo>
                      <a:lnTo>
                        <a:pt x="93209" y="1812"/>
                      </a:lnTo>
                      <a:lnTo>
                        <a:pt x="98695" y="25149"/>
                      </a:lnTo>
                      <a:lnTo>
                        <a:pt x="98694" y="25149"/>
                      </a:lnTo>
                      <a:cubicBezTo>
                        <a:pt x="108998" y="27623"/>
                        <a:pt x="118389" y="32544"/>
                        <a:pt x="125902" y="39404"/>
                      </a:cubicBezTo>
                      <a:lnTo>
                        <a:pt x="125903" y="39403"/>
                      </a:lnTo>
                      <a:close/>
                    </a:path>
                  </a:pathLst>
                </a:custGeom>
                <a:solidFill>
                  <a:srgbClr val="000000"/>
                </a:solidFill>
                <a:ln>
                  <a:noFill/>
                </a:ln>
                <a:extLst>
                  <a:ext uri="{91240B29-F687-4F45-9708-019B960494DF}">
                    <a14:hiddenLine xmlns:a14="http://schemas.microsoft.com/office/drawing/2010/main" w="9525" cap="flat">
                      <a:solidFill>
                        <a:srgbClr val="000000"/>
                      </a:solidFill>
                      <a:prstDash val="solid"/>
                      <a:round/>
                      <a:headEnd/>
                      <a:tailEnd/>
                    </a14:hiddenLine>
                  </a:ext>
                </a:extLst>
              </p:spPr>
              <p:txBody>
                <a:bodyPr lIns="0" tIns="0" rIns="0" bIns="0"/>
                <a:lstStyle/>
                <a:p>
                  <a:endParaRPr lang="it-IT"/>
                </a:p>
              </p:txBody>
            </p:sp>
            <p:sp>
              <p:nvSpPr>
                <p:cNvPr id="134208" name="Forma 4">
                  <a:extLst>
                    <a:ext uri="{FF2B5EF4-FFF2-40B4-BE49-F238E27FC236}">
                      <a16:creationId xmlns:a16="http://schemas.microsoft.com/office/drawing/2014/main" id="{2DC5C3FF-B164-C44B-A85E-3B25DF13912E}"/>
                    </a:ext>
                  </a:extLst>
                </p:cNvPr>
                <p:cNvSpPr txBox="1">
                  <a:spLocks noChangeArrowheads="1"/>
                </p:cNvSpPr>
                <p:nvPr/>
              </p:nvSpPr>
              <p:spPr bwMode="auto">
                <a:xfrm>
                  <a:off x="4565654" y="2740027"/>
                  <a:ext cx="93661" cy="888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7944" tIns="27944" rIns="27944" bIns="27944" anchor="ctr" anchorCtr="1"/>
                <a:lstStyle>
                  <a:lvl1pPr defTabSz="976313">
                    <a:defRPr>
                      <a:solidFill>
                        <a:schemeClr val="tx1"/>
                      </a:solidFill>
                      <a:latin typeface="Calibri" panose="020F0502020204030204" pitchFamily="34" charset="0"/>
                    </a:defRPr>
                  </a:lvl1pPr>
                  <a:lvl2pPr marL="742950" indent="-285750" defTabSz="976313">
                    <a:defRPr>
                      <a:solidFill>
                        <a:schemeClr val="tx1"/>
                      </a:solidFill>
                      <a:latin typeface="Calibri" panose="020F0502020204030204" pitchFamily="34" charset="0"/>
                    </a:defRPr>
                  </a:lvl2pPr>
                  <a:lvl3pPr marL="1143000" indent="-228600" defTabSz="976313">
                    <a:defRPr>
                      <a:solidFill>
                        <a:schemeClr val="tx1"/>
                      </a:solidFill>
                      <a:latin typeface="Calibri" panose="020F0502020204030204" pitchFamily="34" charset="0"/>
                    </a:defRPr>
                  </a:lvl3pPr>
                  <a:lvl4pPr marL="1600200" indent="-228600" defTabSz="976313">
                    <a:defRPr>
                      <a:solidFill>
                        <a:schemeClr val="tx1"/>
                      </a:solidFill>
                      <a:latin typeface="Calibri" panose="020F0502020204030204" pitchFamily="34" charset="0"/>
                    </a:defRPr>
                  </a:lvl4pPr>
                  <a:lvl5pPr marL="2057400" indent="-228600" defTabSz="976313">
                    <a:defRPr>
                      <a:solidFill>
                        <a:schemeClr val="tx1"/>
                      </a:solidFill>
                      <a:latin typeface="Calibri" panose="020F0502020204030204" pitchFamily="34" charset="0"/>
                    </a:defRPr>
                  </a:lvl5pPr>
                  <a:lvl6pPr marL="2514600" indent="-228600" defTabSz="976313" eaLnBrk="0" fontAlgn="base" hangingPunct="0">
                    <a:spcBef>
                      <a:spcPct val="0"/>
                    </a:spcBef>
                    <a:spcAft>
                      <a:spcPct val="0"/>
                    </a:spcAft>
                    <a:defRPr>
                      <a:solidFill>
                        <a:schemeClr val="tx1"/>
                      </a:solidFill>
                      <a:latin typeface="Calibri" panose="020F0502020204030204" pitchFamily="34" charset="0"/>
                    </a:defRPr>
                  </a:lvl6pPr>
                  <a:lvl7pPr marL="2971800" indent="-228600" defTabSz="976313" eaLnBrk="0" fontAlgn="base" hangingPunct="0">
                    <a:spcBef>
                      <a:spcPct val="0"/>
                    </a:spcBef>
                    <a:spcAft>
                      <a:spcPct val="0"/>
                    </a:spcAft>
                    <a:defRPr>
                      <a:solidFill>
                        <a:schemeClr val="tx1"/>
                      </a:solidFill>
                      <a:latin typeface="Calibri" panose="020F0502020204030204" pitchFamily="34" charset="0"/>
                    </a:defRPr>
                  </a:lvl7pPr>
                  <a:lvl8pPr marL="3429000" indent="-228600" defTabSz="976313" eaLnBrk="0" fontAlgn="base" hangingPunct="0">
                    <a:spcBef>
                      <a:spcPct val="0"/>
                    </a:spcBef>
                    <a:spcAft>
                      <a:spcPct val="0"/>
                    </a:spcAft>
                    <a:defRPr>
                      <a:solidFill>
                        <a:schemeClr val="tx1"/>
                      </a:solidFill>
                      <a:latin typeface="Calibri" panose="020F0502020204030204" pitchFamily="34" charset="0"/>
                    </a:defRPr>
                  </a:lvl8pPr>
                  <a:lvl9pPr marL="3886200" indent="-228600" defTabSz="976313" eaLnBrk="0" fontAlgn="base" hangingPunct="0">
                    <a:spcBef>
                      <a:spcPct val="0"/>
                    </a:spcBef>
                    <a:spcAft>
                      <a:spcPct val="0"/>
                    </a:spcAft>
                    <a:defRPr>
                      <a:solidFill>
                        <a:schemeClr val="tx1"/>
                      </a:solidFill>
                      <a:latin typeface="Calibri" panose="020F0502020204030204" pitchFamily="34" charset="0"/>
                    </a:defRPr>
                  </a:lvl9pPr>
                </a:lstStyle>
                <a:p>
                  <a:pPr algn="ctr">
                    <a:lnSpc>
                      <a:spcPct val="90000"/>
                    </a:lnSpc>
                    <a:spcAft>
                      <a:spcPts val="900"/>
                    </a:spcAft>
                  </a:pPr>
                  <a:endParaRPr lang="it-IT" altLang="it-IT" sz="2200">
                    <a:solidFill>
                      <a:srgbClr val="FFFFFF"/>
                    </a:solidFill>
                    <a:latin typeface="Arial" panose="020B0604020202020204" pitchFamily="34" charset="0"/>
                    <a:cs typeface="Arial" panose="020B0604020202020204" pitchFamily="34" charset="0"/>
                  </a:endParaRPr>
                </a:p>
              </p:txBody>
            </p:sp>
          </p:grpSp>
          <p:sp>
            <p:nvSpPr>
              <p:cNvPr id="134200" name="Ovale 35">
                <a:extLst>
                  <a:ext uri="{FF2B5EF4-FFF2-40B4-BE49-F238E27FC236}">
                    <a16:creationId xmlns:a16="http://schemas.microsoft.com/office/drawing/2014/main" id="{EA42D029-FD5A-4C4D-83ED-1DDC5DD1ECDC}"/>
                  </a:ext>
                </a:extLst>
              </p:cNvPr>
              <p:cNvSpPr>
                <a:spLocks/>
              </p:cNvSpPr>
              <p:nvPr/>
            </p:nvSpPr>
            <p:spPr bwMode="auto">
              <a:xfrm>
                <a:off x="4575172" y="2749545"/>
                <a:ext cx="74615" cy="69851"/>
              </a:xfrm>
              <a:custGeom>
                <a:avLst/>
                <a:gdLst>
                  <a:gd name="T0" fmla="*/ 37308 w 74615"/>
                  <a:gd name="T1" fmla="*/ 0 h 69851"/>
                  <a:gd name="T2" fmla="*/ 74615 w 74615"/>
                  <a:gd name="T3" fmla="*/ 34926 h 69851"/>
                  <a:gd name="T4" fmla="*/ 37308 w 74615"/>
                  <a:gd name="T5" fmla="*/ 69851 h 69851"/>
                  <a:gd name="T6" fmla="*/ 0 w 74615"/>
                  <a:gd name="T7" fmla="*/ 34926 h 69851"/>
                  <a:gd name="T8" fmla="*/ 10927 w 74615"/>
                  <a:gd name="T9" fmla="*/ 10229 h 69851"/>
                  <a:gd name="T10" fmla="*/ 10927 w 74615"/>
                  <a:gd name="T11" fmla="*/ 59622 h 69851"/>
                  <a:gd name="T12" fmla="*/ 63688 w 74615"/>
                  <a:gd name="T13" fmla="*/ 59622 h 69851"/>
                  <a:gd name="T14" fmla="*/ 63688 w 74615"/>
                  <a:gd name="T15" fmla="*/ 10229 h 69851"/>
                  <a:gd name="T16" fmla="*/ 17694720 60000 65536"/>
                  <a:gd name="T17" fmla="*/ 0 60000 65536"/>
                  <a:gd name="T18" fmla="*/ 5898240 60000 65536"/>
                  <a:gd name="T19" fmla="*/ 11796480 60000 65536"/>
                  <a:gd name="T20" fmla="*/ 17694720 60000 65536"/>
                  <a:gd name="T21" fmla="*/ 5898240 60000 65536"/>
                  <a:gd name="T22" fmla="*/ 5898240 60000 65536"/>
                  <a:gd name="T23" fmla="*/ 17694720 60000 65536"/>
                  <a:gd name="T24" fmla="*/ 10927 w 74615"/>
                  <a:gd name="T25" fmla="*/ 10229 h 69851"/>
                  <a:gd name="T26" fmla="*/ 63688 w 74615"/>
                  <a:gd name="T27" fmla="*/ 59622 h 698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4615" h="69851">
                    <a:moveTo>
                      <a:pt x="0" y="34926"/>
                    </a:moveTo>
                    <a:lnTo>
                      <a:pt x="0" y="34926"/>
                    </a:lnTo>
                    <a:cubicBezTo>
                      <a:pt x="0" y="54215"/>
                      <a:pt x="16703" y="69852"/>
                      <a:pt x="37308" y="69852"/>
                    </a:cubicBezTo>
                    <a:cubicBezTo>
                      <a:pt x="57912" y="69852"/>
                      <a:pt x="74616" y="54215"/>
                      <a:pt x="74616" y="34926"/>
                    </a:cubicBezTo>
                    <a:cubicBezTo>
                      <a:pt x="74616" y="15636"/>
                      <a:pt x="57912" y="0"/>
                      <a:pt x="37308" y="0"/>
                    </a:cubicBezTo>
                    <a:cubicBezTo>
                      <a:pt x="16703" y="0"/>
                      <a:pt x="0" y="15636"/>
                      <a:pt x="0" y="34925"/>
                    </a:cubicBezTo>
                    <a:lnTo>
                      <a:pt x="0" y="34926"/>
                    </a:lnTo>
                    <a:close/>
                  </a:path>
                </a:pathLst>
              </a:custGeom>
              <a:solidFill>
                <a:srgbClr val="FFFFFF"/>
              </a:solidFill>
              <a:ln>
                <a:noFill/>
              </a:ln>
              <a:extLst>
                <a:ext uri="{91240B29-F687-4F45-9708-019B960494DF}">
                  <a14:hiddenLine xmlns:a14="http://schemas.microsoft.com/office/drawing/2010/main" w="9525" cap="flat">
                    <a:solidFill>
                      <a:srgbClr val="000000"/>
                    </a:solidFill>
                    <a:prstDash val="solid"/>
                    <a:round/>
                    <a:headEnd/>
                    <a:tailEnd/>
                  </a14:hiddenLine>
                </a:ext>
              </a:extLst>
            </p:spPr>
            <p:txBody>
              <a:bodyPr anchor="ctr" anchorCtr="1"/>
              <a:lstStyle/>
              <a:p>
                <a:endParaRPr lang="it-IT"/>
              </a:p>
            </p:txBody>
          </p:sp>
          <p:sp>
            <p:nvSpPr>
              <p:cNvPr id="134201" name="Ovale 36">
                <a:extLst>
                  <a:ext uri="{FF2B5EF4-FFF2-40B4-BE49-F238E27FC236}">
                    <a16:creationId xmlns:a16="http://schemas.microsoft.com/office/drawing/2014/main" id="{F7210E45-E16A-1641-AAB9-28BAE8DF89BA}"/>
                  </a:ext>
                </a:extLst>
              </p:cNvPr>
              <p:cNvSpPr>
                <a:spLocks/>
              </p:cNvSpPr>
              <p:nvPr/>
            </p:nvSpPr>
            <p:spPr bwMode="auto">
              <a:xfrm>
                <a:off x="4591046" y="2767010"/>
                <a:ext cx="38103" cy="34920"/>
              </a:xfrm>
              <a:custGeom>
                <a:avLst/>
                <a:gdLst>
                  <a:gd name="T0" fmla="*/ 19052 w 38103"/>
                  <a:gd name="T1" fmla="*/ 0 h 34920"/>
                  <a:gd name="T2" fmla="*/ 38103 w 38103"/>
                  <a:gd name="T3" fmla="*/ 17460 h 34920"/>
                  <a:gd name="T4" fmla="*/ 19052 w 38103"/>
                  <a:gd name="T5" fmla="*/ 34920 h 34920"/>
                  <a:gd name="T6" fmla="*/ 0 w 38103"/>
                  <a:gd name="T7" fmla="*/ 17460 h 34920"/>
                  <a:gd name="T8" fmla="*/ 5580 w 38103"/>
                  <a:gd name="T9" fmla="*/ 5114 h 34920"/>
                  <a:gd name="T10" fmla="*/ 5580 w 38103"/>
                  <a:gd name="T11" fmla="*/ 29806 h 34920"/>
                  <a:gd name="T12" fmla="*/ 32523 w 38103"/>
                  <a:gd name="T13" fmla="*/ 29806 h 34920"/>
                  <a:gd name="T14" fmla="*/ 32523 w 38103"/>
                  <a:gd name="T15" fmla="*/ 5114 h 34920"/>
                  <a:gd name="T16" fmla="*/ 17694720 60000 65536"/>
                  <a:gd name="T17" fmla="*/ 0 60000 65536"/>
                  <a:gd name="T18" fmla="*/ 5898240 60000 65536"/>
                  <a:gd name="T19" fmla="*/ 11796480 60000 65536"/>
                  <a:gd name="T20" fmla="*/ 17694720 60000 65536"/>
                  <a:gd name="T21" fmla="*/ 5898240 60000 65536"/>
                  <a:gd name="T22" fmla="*/ 5898240 60000 65536"/>
                  <a:gd name="T23" fmla="*/ 17694720 60000 65536"/>
                  <a:gd name="T24" fmla="*/ 5580 w 38103"/>
                  <a:gd name="T25" fmla="*/ 5114 h 34920"/>
                  <a:gd name="T26" fmla="*/ 32523 w 38103"/>
                  <a:gd name="T27" fmla="*/ 29806 h 349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8103" h="34920">
                    <a:moveTo>
                      <a:pt x="0" y="17460"/>
                    </a:moveTo>
                    <a:lnTo>
                      <a:pt x="0" y="17460"/>
                    </a:lnTo>
                    <a:cubicBezTo>
                      <a:pt x="0" y="27102"/>
                      <a:pt x="8529" y="34920"/>
                      <a:pt x="19052" y="34920"/>
                    </a:cubicBezTo>
                    <a:cubicBezTo>
                      <a:pt x="29574" y="34920"/>
                      <a:pt x="38104" y="27102"/>
                      <a:pt x="38104" y="17460"/>
                    </a:cubicBezTo>
                    <a:cubicBezTo>
                      <a:pt x="38104" y="7817"/>
                      <a:pt x="29574" y="0"/>
                      <a:pt x="19052" y="0"/>
                    </a:cubicBezTo>
                    <a:cubicBezTo>
                      <a:pt x="8529" y="0"/>
                      <a:pt x="0" y="7817"/>
                      <a:pt x="0" y="17459"/>
                    </a:cubicBezTo>
                    <a:lnTo>
                      <a:pt x="0" y="17460"/>
                    </a:lnTo>
                    <a:close/>
                  </a:path>
                </a:pathLst>
              </a:custGeom>
              <a:solidFill>
                <a:srgbClr val="FFFFFF"/>
              </a:solidFill>
              <a:ln w="25402" cap="flat">
                <a:solidFill>
                  <a:srgbClr val="000000"/>
                </a:solidFill>
                <a:prstDash val="solid"/>
                <a:miter lim="800000"/>
                <a:headEnd/>
                <a:tailEnd/>
              </a:ln>
            </p:spPr>
            <p:txBody>
              <a:bodyPr anchor="ctr" anchorCtr="1"/>
              <a:lstStyle/>
              <a:p>
                <a:endParaRPr lang="it-IT"/>
              </a:p>
            </p:txBody>
          </p:sp>
          <p:grpSp>
            <p:nvGrpSpPr>
              <p:cNvPr id="134202" name="Gruppo 25">
                <a:extLst>
                  <a:ext uri="{FF2B5EF4-FFF2-40B4-BE49-F238E27FC236}">
                    <a16:creationId xmlns:a16="http://schemas.microsoft.com/office/drawing/2014/main" id="{B14E2BE3-2240-F74C-A20C-00FF6E47A7B5}"/>
                  </a:ext>
                </a:extLst>
              </p:cNvPr>
              <p:cNvGrpSpPr>
                <a:grpSpLocks/>
              </p:cNvGrpSpPr>
              <p:nvPr/>
            </p:nvGrpSpPr>
            <p:grpSpPr bwMode="auto">
              <a:xfrm>
                <a:off x="4708519" y="2706688"/>
                <a:ext cx="165104" cy="155576"/>
                <a:chOff x="4708519" y="2706688"/>
                <a:chExt cx="165104" cy="155576"/>
              </a:xfrm>
            </p:grpSpPr>
            <p:sp>
              <p:nvSpPr>
                <p:cNvPr id="134205" name="Forma 40">
                  <a:extLst>
                    <a:ext uri="{FF2B5EF4-FFF2-40B4-BE49-F238E27FC236}">
                      <a16:creationId xmlns:a16="http://schemas.microsoft.com/office/drawing/2014/main" id="{D6CF4180-5BC5-0245-A370-68141E2AADC3}"/>
                    </a:ext>
                  </a:extLst>
                </p:cNvPr>
                <p:cNvSpPr>
                  <a:spLocks/>
                </p:cNvSpPr>
                <p:nvPr/>
              </p:nvSpPr>
              <p:spPr bwMode="auto">
                <a:xfrm rot="-899986">
                  <a:off x="4708519" y="2706688"/>
                  <a:ext cx="165104" cy="155576"/>
                </a:xfrm>
                <a:custGeom>
                  <a:avLst/>
                  <a:gdLst>
                    <a:gd name="T0" fmla="*/ 82552 w 165104"/>
                    <a:gd name="T1" fmla="*/ 0 h 155576"/>
                    <a:gd name="T2" fmla="*/ 165104 w 165104"/>
                    <a:gd name="T3" fmla="*/ 77788 h 155576"/>
                    <a:gd name="T4" fmla="*/ 82552 w 165104"/>
                    <a:gd name="T5" fmla="*/ 155576 h 155576"/>
                    <a:gd name="T6" fmla="*/ 0 w 165104"/>
                    <a:gd name="T7" fmla="*/ 77788 h 155576"/>
                    <a:gd name="T8" fmla="*/ 151891 w 165104"/>
                    <a:gd name="T9" fmla="*/ 39059 h 155576"/>
                    <a:gd name="T10" fmla="*/ 151891 w 165104"/>
                    <a:gd name="T11" fmla="*/ 116517 h 155576"/>
                    <a:gd name="T12" fmla="*/ 82552 w 165104"/>
                    <a:gd name="T13" fmla="*/ 153764 h 155576"/>
                    <a:gd name="T14" fmla="*/ 8 w 165104"/>
                    <a:gd name="T15" fmla="*/ 116517 h 155576"/>
                    <a:gd name="T16" fmla="*/ 8 w 165104"/>
                    <a:gd name="T17" fmla="*/ 39059 h 155576"/>
                    <a:gd name="T18" fmla="*/ 82552 w 165104"/>
                    <a:gd name="T19" fmla="*/ 1812 h 155576"/>
                    <a:gd name="T20" fmla="*/ 17694720 60000 65536"/>
                    <a:gd name="T21" fmla="*/ 0 60000 65536"/>
                    <a:gd name="T22" fmla="*/ 5898240 60000 65536"/>
                    <a:gd name="T23" fmla="*/ 11796480 60000 65536"/>
                    <a:gd name="T24" fmla="*/ 0 60000 65536"/>
                    <a:gd name="T25" fmla="*/ 0 60000 65536"/>
                    <a:gd name="T26" fmla="*/ 5898240 60000 65536"/>
                    <a:gd name="T27" fmla="*/ 11796480 60000 65536"/>
                    <a:gd name="T28" fmla="*/ 11796480 60000 65536"/>
                    <a:gd name="T29" fmla="*/ 17694720 60000 65536"/>
                    <a:gd name="T30" fmla="*/ 40552 w 165104"/>
                    <a:gd name="T31" fmla="*/ 39403 h 155576"/>
                    <a:gd name="T32" fmla="*/ 124552 w 165104"/>
                    <a:gd name="T33" fmla="*/ 116173 h 15557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5104" h="155576">
                      <a:moveTo>
                        <a:pt x="124552" y="39403"/>
                      </a:moveTo>
                      <a:lnTo>
                        <a:pt x="147233" y="31640"/>
                      </a:lnTo>
                      <a:lnTo>
                        <a:pt x="156549" y="46479"/>
                      </a:lnTo>
                      <a:lnTo>
                        <a:pt x="139702" y="63533"/>
                      </a:lnTo>
                      <a:lnTo>
                        <a:pt x="139701" y="63533"/>
                      </a:lnTo>
                      <a:cubicBezTo>
                        <a:pt x="141072" y="68179"/>
                        <a:pt x="141767" y="72973"/>
                        <a:pt x="141767" y="77788"/>
                      </a:cubicBezTo>
                      <a:cubicBezTo>
                        <a:pt x="141767" y="82602"/>
                        <a:pt x="141072" y="87396"/>
                        <a:pt x="139701" y="92042"/>
                      </a:cubicBezTo>
                      <a:lnTo>
                        <a:pt x="156549" y="109097"/>
                      </a:lnTo>
                      <a:lnTo>
                        <a:pt x="147233" y="123936"/>
                      </a:lnTo>
                      <a:lnTo>
                        <a:pt x="124552" y="116173"/>
                      </a:lnTo>
                      <a:lnTo>
                        <a:pt x="124551" y="116172"/>
                      </a:lnTo>
                      <a:cubicBezTo>
                        <a:pt x="117137" y="123032"/>
                        <a:pt x="107869" y="127952"/>
                        <a:pt x="97701" y="130427"/>
                      </a:cubicBezTo>
                      <a:lnTo>
                        <a:pt x="92217" y="153764"/>
                      </a:lnTo>
                      <a:lnTo>
                        <a:pt x="72887" y="153764"/>
                      </a:lnTo>
                      <a:lnTo>
                        <a:pt x="67402" y="130427"/>
                      </a:lnTo>
                      <a:lnTo>
                        <a:pt x="67402" y="130426"/>
                      </a:lnTo>
                      <a:cubicBezTo>
                        <a:pt x="57234" y="127952"/>
                        <a:pt x="47966" y="123032"/>
                        <a:pt x="40551" y="116172"/>
                      </a:cubicBezTo>
                      <a:lnTo>
                        <a:pt x="17871" y="123936"/>
                      </a:lnTo>
                      <a:lnTo>
                        <a:pt x="8555" y="109097"/>
                      </a:lnTo>
                      <a:lnTo>
                        <a:pt x="25402" y="92043"/>
                      </a:lnTo>
                      <a:lnTo>
                        <a:pt x="25402" y="92042"/>
                      </a:lnTo>
                      <a:cubicBezTo>
                        <a:pt x="24031" y="87396"/>
                        <a:pt x="23337" y="82602"/>
                        <a:pt x="23337" y="77788"/>
                      </a:cubicBezTo>
                      <a:cubicBezTo>
                        <a:pt x="23337" y="72973"/>
                        <a:pt x="24031" y="68179"/>
                        <a:pt x="25402" y="63533"/>
                      </a:cubicBezTo>
                      <a:lnTo>
                        <a:pt x="8555" y="46479"/>
                      </a:lnTo>
                      <a:lnTo>
                        <a:pt x="17871" y="31640"/>
                      </a:lnTo>
                      <a:lnTo>
                        <a:pt x="40552" y="39403"/>
                      </a:lnTo>
                      <a:cubicBezTo>
                        <a:pt x="47966" y="32543"/>
                        <a:pt x="57234" y="27623"/>
                        <a:pt x="67402" y="25148"/>
                      </a:cubicBezTo>
                      <a:lnTo>
                        <a:pt x="72887" y="1812"/>
                      </a:lnTo>
                      <a:lnTo>
                        <a:pt x="92217" y="1812"/>
                      </a:lnTo>
                      <a:lnTo>
                        <a:pt x="97702" y="25149"/>
                      </a:lnTo>
                      <a:lnTo>
                        <a:pt x="97701" y="25149"/>
                      </a:lnTo>
                      <a:cubicBezTo>
                        <a:pt x="107869" y="27623"/>
                        <a:pt x="117137" y="32543"/>
                        <a:pt x="124552" y="39403"/>
                      </a:cubicBezTo>
                      <a:close/>
                    </a:path>
                  </a:pathLst>
                </a:custGeom>
                <a:solidFill>
                  <a:srgbClr val="000000"/>
                </a:solidFill>
                <a:ln>
                  <a:noFill/>
                </a:ln>
                <a:extLst>
                  <a:ext uri="{91240B29-F687-4F45-9708-019B960494DF}">
                    <a14:hiddenLine xmlns:a14="http://schemas.microsoft.com/office/drawing/2010/main" w="9525" cap="flat">
                      <a:solidFill>
                        <a:srgbClr val="000000"/>
                      </a:solidFill>
                      <a:prstDash val="solid"/>
                      <a:round/>
                      <a:headEnd/>
                      <a:tailEnd/>
                    </a14:hiddenLine>
                  </a:ext>
                </a:extLst>
              </p:spPr>
              <p:txBody>
                <a:bodyPr lIns="0" tIns="0" rIns="0" bIns="0"/>
                <a:lstStyle/>
                <a:p>
                  <a:endParaRPr lang="it-IT"/>
                </a:p>
              </p:txBody>
            </p:sp>
            <p:sp>
              <p:nvSpPr>
                <p:cNvPr id="134206" name="Forma 4">
                  <a:extLst>
                    <a:ext uri="{FF2B5EF4-FFF2-40B4-BE49-F238E27FC236}">
                      <a16:creationId xmlns:a16="http://schemas.microsoft.com/office/drawing/2014/main" id="{1DB0E664-B83E-9A46-AB9F-A01CF789C02E}"/>
                    </a:ext>
                  </a:extLst>
                </p:cNvPr>
                <p:cNvSpPr txBox="1">
                  <a:spLocks noChangeArrowheads="1"/>
                </p:cNvSpPr>
                <p:nvPr/>
              </p:nvSpPr>
              <p:spPr bwMode="auto">
                <a:xfrm>
                  <a:off x="4745041" y="2740027"/>
                  <a:ext cx="92070" cy="888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7944" tIns="27944" rIns="27944" bIns="27944" anchor="ctr" anchorCtr="1"/>
                <a:lstStyle>
                  <a:lvl1pPr defTabSz="976313">
                    <a:defRPr>
                      <a:solidFill>
                        <a:schemeClr val="tx1"/>
                      </a:solidFill>
                      <a:latin typeface="Calibri" panose="020F0502020204030204" pitchFamily="34" charset="0"/>
                    </a:defRPr>
                  </a:lvl1pPr>
                  <a:lvl2pPr marL="742950" indent="-285750" defTabSz="976313">
                    <a:defRPr>
                      <a:solidFill>
                        <a:schemeClr val="tx1"/>
                      </a:solidFill>
                      <a:latin typeface="Calibri" panose="020F0502020204030204" pitchFamily="34" charset="0"/>
                    </a:defRPr>
                  </a:lvl2pPr>
                  <a:lvl3pPr marL="1143000" indent="-228600" defTabSz="976313">
                    <a:defRPr>
                      <a:solidFill>
                        <a:schemeClr val="tx1"/>
                      </a:solidFill>
                      <a:latin typeface="Calibri" panose="020F0502020204030204" pitchFamily="34" charset="0"/>
                    </a:defRPr>
                  </a:lvl3pPr>
                  <a:lvl4pPr marL="1600200" indent="-228600" defTabSz="976313">
                    <a:defRPr>
                      <a:solidFill>
                        <a:schemeClr val="tx1"/>
                      </a:solidFill>
                      <a:latin typeface="Calibri" panose="020F0502020204030204" pitchFamily="34" charset="0"/>
                    </a:defRPr>
                  </a:lvl4pPr>
                  <a:lvl5pPr marL="2057400" indent="-228600" defTabSz="976313">
                    <a:defRPr>
                      <a:solidFill>
                        <a:schemeClr val="tx1"/>
                      </a:solidFill>
                      <a:latin typeface="Calibri" panose="020F0502020204030204" pitchFamily="34" charset="0"/>
                    </a:defRPr>
                  </a:lvl5pPr>
                  <a:lvl6pPr marL="2514600" indent="-228600" defTabSz="976313" eaLnBrk="0" fontAlgn="base" hangingPunct="0">
                    <a:spcBef>
                      <a:spcPct val="0"/>
                    </a:spcBef>
                    <a:spcAft>
                      <a:spcPct val="0"/>
                    </a:spcAft>
                    <a:defRPr>
                      <a:solidFill>
                        <a:schemeClr val="tx1"/>
                      </a:solidFill>
                      <a:latin typeface="Calibri" panose="020F0502020204030204" pitchFamily="34" charset="0"/>
                    </a:defRPr>
                  </a:lvl6pPr>
                  <a:lvl7pPr marL="2971800" indent="-228600" defTabSz="976313" eaLnBrk="0" fontAlgn="base" hangingPunct="0">
                    <a:spcBef>
                      <a:spcPct val="0"/>
                    </a:spcBef>
                    <a:spcAft>
                      <a:spcPct val="0"/>
                    </a:spcAft>
                    <a:defRPr>
                      <a:solidFill>
                        <a:schemeClr val="tx1"/>
                      </a:solidFill>
                      <a:latin typeface="Calibri" panose="020F0502020204030204" pitchFamily="34" charset="0"/>
                    </a:defRPr>
                  </a:lvl7pPr>
                  <a:lvl8pPr marL="3429000" indent="-228600" defTabSz="976313" eaLnBrk="0" fontAlgn="base" hangingPunct="0">
                    <a:spcBef>
                      <a:spcPct val="0"/>
                    </a:spcBef>
                    <a:spcAft>
                      <a:spcPct val="0"/>
                    </a:spcAft>
                    <a:defRPr>
                      <a:solidFill>
                        <a:schemeClr val="tx1"/>
                      </a:solidFill>
                      <a:latin typeface="Calibri" panose="020F0502020204030204" pitchFamily="34" charset="0"/>
                    </a:defRPr>
                  </a:lvl8pPr>
                  <a:lvl9pPr marL="3886200" indent="-228600" defTabSz="976313" eaLnBrk="0" fontAlgn="base" hangingPunct="0">
                    <a:spcBef>
                      <a:spcPct val="0"/>
                    </a:spcBef>
                    <a:spcAft>
                      <a:spcPct val="0"/>
                    </a:spcAft>
                    <a:defRPr>
                      <a:solidFill>
                        <a:schemeClr val="tx1"/>
                      </a:solidFill>
                      <a:latin typeface="Calibri" panose="020F0502020204030204" pitchFamily="34" charset="0"/>
                    </a:defRPr>
                  </a:lvl9pPr>
                </a:lstStyle>
                <a:p>
                  <a:pPr algn="ctr">
                    <a:lnSpc>
                      <a:spcPct val="90000"/>
                    </a:lnSpc>
                    <a:spcAft>
                      <a:spcPts val="900"/>
                    </a:spcAft>
                  </a:pPr>
                  <a:endParaRPr lang="it-IT" altLang="it-IT" sz="2200">
                    <a:solidFill>
                      <a:srgbClr val="FFFFFF"/>
                    </a:solidFill>
                    <a:latin typeface="Arial" panose="020B0604020202020204" pitchFamily="34" charset="0"/>
                    <a:cs typeface="Arial" panose="020B0604020202020204" pitchFamily="34" charset="0"/>
                  </a:endParaRPr>
                </a:p>
              </p:txBody>
            </p:sp>
          </p:grpSp>
          <p:sp>
            <p:nvSpPr>
              <p:cNvPr id="134203" name="Ovale 38">
                <a:extLst>
                  <a:ext uri="{FF2B5EF4-FFF2-40B4-BE49-F238E27FC236}">
                    <a16:creationId xmlns:a16="http://schemas.microsoft.com/office/drawing/2014/main" id="{A8C12064-7F10-DE4D-AAC9-0FD525BE5803}"/>
                  </a:ext>
                </a:extLst>
              </p:cNvPr>
              <p:cNvSpPr>
                <a:spLocks/>
              </p:cNvSpPr>
              <p:nvPr/>
            </p:nvSpPr>
            <p:spPr bwMode="auto">
              <a:xfrm>
                <a:off x="4752978" y="2749545"/>
                <a:ext cx="76196" cy="69851"/>
              </a:xfrm>
              <a:custGeom>
                <a:avLst/>
                <a:gdLst>
                  <a:gd name="T0" fmla="*/ 38098 w 76196"/>
                  <a:gd name="T1" fmla="*/ 0 h 69851"/>
                  <a:gd name="T2" fmla="*/ 76196 w 76196"/>
                  <a:gd name="T3" fmla="*/ 34926 h 69851"/>
                  <a:gd name="T4" fmla="*/ 38098 w 76196"/>
                  <a:gd name="T5" fmla="*/ 69851 h 69851"/>
                  <a:gd name="T6" fmla="*/ 0 w 76196"/>
                  <a:gd name="T7" fmla="*/ 34926 h 69851"/>
                  <a:gd name="T8" fmla="*/ 11159 w 76196"/>
                  <a:gd name="T9" fmla="*/ 10229 h 69851"/>
                  <a:gd name="T10" fmla="*/ 11159 w 76196"/>
                  <a:gd name="T11" fmla="*/ 59622 h 69851"/>
                  <a:gd name="T12" fmla="*/ 65037 w 76196"/>
                  <a:gd name="T13" fmla="*/ 59622 h 69851"/>
                  <a:gd name="T14" fmla="*/ 65037 w 76196"/>
                  <a:gd name="T15" fmla="*/ 10229 h 69851"/>
                  <a:gd name="T16" fmla="*/ 17694720 60000 65536"/>
                  <a:gd name="T17" fmla="*/ 0 60000 65536"/>
                  <a:gd name="T18" fmla="*/ 5898240 60000 65536"/>
                  <a:gd name="T19" fmla="*/ 11796480 60000 65536"/>
                  <a:gd name="T20" fmla="*/ 17694720 60000 65536"/>
                  <a:gd name="T21" fmla="*/ 5898240 60000 65536"/>
                  <a:gd name="T22" fmla="*/ 5898240 60000 65536"/>
                  <a:gd name="T23" fmla="*/ 17694720 60000 65536"/>
                  <a:gd name="T24" fmla="*/ 11159 w 76196"/>
                  <a:gd name="T25" fmla="*/ 10229 h 69851"/>
                  <a:gd name="T26" fmla="*/ 65037 w 76196"/>
                  <a:gd name="T27" fmla="*/ 59622 h 698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6196" h="69851">
                    <a:moveTo>
                      <a:pt x="0" y="34926"/>
                    </a:moveTo>
                    <a:lnTo>
                      <a:pt x="0" y="34926"/>
                    </a:lnTo>
                    <a:cubicBezTo>
                      <a:pt x="0" y="54215"/>
                      <a:pt x="17057" y="69852"/>
                      <a:pt x="38098" y="69852"/>
                    </a:cubicBezTo>
                    <a:cubicBezTo>
                      <a:pt x="59138" y="69852"/>
                      <a:pt x="76196" y="54215"/>
                      <a:pt x="76196" y="34926"/>
                    </a:cubicBezTo>
                    <a:cubicBezTo>
                      <a:pt x="76196" y="15636"/>
                      <a:pt x="59138" y="0"/>
                      <a:pt x="38098" y="0"/>
                    </a:cubicBezTo>
                    <a:cubicBezTo>
                      <a:pt x="17057" y="0"/>
                      <a:pt x="0" y="15636"/>
                      <a:pt x="0" y="34925"/>
                    </a:cubicBezTo>
                    <a:lnTo>
                      <a:pt x="0" y="34926"/>
                    </a:lnTo>
                    <a:close/>
                  </a:path>
                </a:pathLst>
              </a:custGeom>
              <a:solidFill>
                <a:srgbClr val="FFFFFF"/>
              </a:solidFill>
              <a:ln>
                <a:noFill/>
              </a:ln>
              <a:extLst>
                <a:ext uri="{91240B29-F687-4F45-9708-019B960494DF}">
                  <a14:hiddenLine xmlns:a14="http://schemas.microsoft.com/office/drawing/2010/main" w="9525" cap="flat">
                    <a:solidFill>
                      <a:srgbClr val="000000"/>
                    </a:solidFill>
                    <a:prstDash val="solid"/>
                    <a:round/>
                    <a:headEnd/>
                    <a:tailEnd/>
                  </a14:hiddenLine>
                </a:ext>
              </a:extLst>
            </p:spPr>
            <p:txBody>
              <a:bodyPr anchor="ctr" anchorCtr="1"/>
              <a:lstStyle/>
              <a:p>
                <a:endParaRPr lang="it-IT"/>
              </a:p>
            </p:txBody>
          </p:sp>
          <p:sp>
            <p:nvSpPr>
              <p:cNvPr id="134204" name="Ovale 39">
                <a:extLst>
                  <a:ext uri="{FF2B5EF4-FFF2-40B4-BE49-F238E27FC236}">
                    <a16:creationId xmlns:a16="http://schemas.microsoft.com/office/drawing/2014/main" id="{03A600D3-7D4C-454A-888C-C0FC393B9A3B}"/>
                  </a:ext>
                </a:extLst>
              </p:cNvPr>
              <p:cNvSpPr>
                <a:spLocks/>
              </p:cNvSpPr>
              <p:nvPr/>
            </p:nvSpPr>
            <p:spPr bwMode="auto">
              <a:xfrm>
                <a:off x="4772025" y="2767010"/>
                <a:ext cx="38103" cy="34920"/>
              </a:xfrm>
              <a:custGeom>
                <a:avLst/>
                <a:gdLst>
                  <a:gd name="T0" fmla="*/ 19052 w 38103"/>
                  <a:gd name="T1" fmla="*/ 0 h 34920"/>
                  <a:gd name="T2" fmla="*/ 38103 w 38103"/>
                  <a:gd name="T3" fmla="*/ 17460 h 34920"/>
                  <a:gd name="T4" fmla="*/ 19052 w 38103"/>
                  <a:gd name="T5" fmla="*/ 34920 h 34920"/>
                  <a:gd name="T6" fmla="*/ 0 w 38103"/>
                  <a:gd name="T7" fmla="*/ 17460 h 34920"/>
                  <a:gd name="T8" fmla="*/ 5580 w 38103"/>
                  <a:gd name="T9" fmla="*/ 5114 h 34920"/>
                  <a:gd name="T10" fmla="*/ 5580 w 38103"/>
                  <a:gd name="T11" fmla="*/ 29806 h 34920"/>
                  <a:gd name="T12" fmla="*/ 32523 w 38103"/>
                  <a:gd name="T13" fmla="*/ 29806 h 34920"/>
                  <a:gd name="T14" fmla="*/ 32523 w 38103"/>
                  <a:gd name="T15" fmla="*/ 5114 h 34920"/>
                  <a:gd name="T16" fmla="*/ 17694720 60000 65536"/>
                  <a:gd name="T17" fmla="*/ 0 60000 65536"/>
                  <a:gd name="T18" fmla="*/ 5898240 60000 65536"/>
                  <a:gd name="T19" fmla="*/ 11796480 60000 65536"/>
                  <a:gd name="T20" fmla="*/ 17694720 60000 65536"/>
                  <a:gd name="T21" fmla="*/ 5898240 60000 65536"/>
                  <a:gd name="T22" fmla="*/ 5898240 60000 65536"/>
                  <a:gd name="T23" fmla="*/ 17694720 60000 65536"/>
                  <a:gd name="T24" fmla="*/ 5580 w 38103"/>
                  <a:gd name="T25" fmla="*/ 5114 h 34920"/>
                  <a:gd name="T26" fmla="*/ 32523 w 38103"/>
                  <a:gd name="T27" fmla="*/ 29806 h 349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8103" h="34920">
                    <a:moveTo>
                      <a:pt x="0" y="17460"/>
                    </a:moveTo>
                    <a:lnTo>
                      <a:pt x="0" y="17460"/>
                    </a:lnTo>
                    <a:cubicBezTo>
                      <a:pt x="0" y="27102"/>
                      <a:pt x="8529" y="34920"/>
                      <a:pt x="19052" y="34920"/>
                    </a:cubicBezTo>
                    <a:cubicBezTo>
                      <a:pt x="29574" y="34920"/>
                      <a:pt x="38104" y="27102"/>
                      <a:pt x="38104" y="17460"/>
                    </a:cubicBezTo>
                    <a:cubicBezTo>
                      <a:pt x="38104" y="7817"/>
                      <a:pt x="29574" y="0"/>
                      <a:pt x="19052" y="0"/>
                    </a:cubicBezTo>
                    <a:cubicBezTo>
                      <a:pt x="8529" y="0"/>
                      <a:pt x="0" y="7817"/>
                      <a:pt x="0" y="17459"/>
                    </a:cubicBezTo>
                    <a:lnTo>
                      <a:pt x="0" y="17460"/>
                    </a:lnTo>
                    <a:close/>
                  </a:path>
                </a:pathLst>
              </a:custGeom>
              <a:solidFill>
                <a:srgbClr val="000000"/>
              </a:solidFill>
              <a:ln>
                <a:noFill/>
              </a:ln>
              <a:extLst>
                <a:ext uri="{91240B29-F687-4F45-9708-019B960494DF}">
                  <a14:hiddenLine xmlns:a14="http://schemas.microsoft.com/office/drawing/2010/main" w="9525" cap="flat">
                    <a:solidFill>
                      <a:srgbClr val="000000"/>
                    </a:solidFill>
                    <a:prstDash val="solid"/>
                    <a:round/>
                    <a:headEnd/>
                    <a:tailEnd/>
                  </a14:hiddenLine>
                </a:ext>
              </a:extLst>
            </p:spPr>
            <p:txBody>
              <a:bodyPr anchor="ctr" anchorCtr="1"/>
              <a:lstStyle/>
              <a:p>
                <a:endParaRPr lang="it-IT"/>
              </a:p>
            </p:txBody>
          </p:sp>
        </p:grpSp>
      </p:grpSp>
      <p:grpSp>
        <p:nvGrpSpPr>
          <p:cNvPr id="134149" name="Shape 631">
            <a:extLst>
              <a:ext uri="{FF2B5EF4-FFF2-40B4-BE49-F238E27FC236}">
                <a16:creationId xmlns:a16="http://schemas.microsoft.com/office/drawing/2014/main" id="{5193B3E5-335F-554C-95F8-2F06BF2F368D}"/>
              </a:ext>
            </a:extLst>
          </p:cNvPr>
          <p:cNvGrpSpPr>
            <a:grpSpLocks/>
          </p:cNvGrpSpPr>
          <p:nvPr/>
        </p:nvGrpSpPr>
        <p:grpSpPr bwMode="auto">
          <a:xfrm>
            <a:off x="7037388" y="1339850"/>
            <a:ext cx="431800" cy="452438"/>
            <a:chOff x="5513383" y="1339852"/>
            <a:chExt cx="431808" cy="452435"/>
          </a:xfrm>
        </p:grpSpPr>
        <p:sp>
          <p:nvSpPr>
            <p:cNvPr id="134185" name="Shape 632">
              <a:extLst>
                <a:ext uri="{FF2B5EF4-FFF2-40B4-BE49-F238E27FC236}">
                  <a16:creationId xmlns:a16="http://schemas.microsoft.com/office/drawing/2014/main" id="{75093F83-3E2C-8B4B-8965-4D1FCDAE1892}"/>
                </a:ext>
              </a:extLst>
            </p:cNvPr>
            <p:cNvSpPr>
              <a:spLocks/>
            </p:cNvSpPr>
            <p:nvPr/>
          </p:nvSpPr>
          <p:spPr bwMode="auto">
            <a:xfrm>
              <a:off x="5513383" y="1395410"/>
              <a:ext cx="381003" cy="381003"/>
            </a:xfrm>
            <a:custGeom>
              <a:avLst/>
              <a:gdLst>
                <a:gd name="T0" fmla="*/ 4814077 w 15077"/>
                <a:gd name="T1" fmla="*/ 0 h 15077"/>
                <a:gd name="T2" fmla="*/ 9628128 w 15077"/>
                <a:gd name="T3" fmla="*/ 4814077 h 15077"/>
                <a:gd name="T4" fmla="*/ 4814077 w 15077"/>
                <a:gd name="T5" fmla="*/ 9628128 h 15077"/>
                <a:gd name="T6" fmla="*/ 0 w 15077"/>
                <a:gd name="T7" fmla="*/ 4814077 h 15077"/>
                <a:gd name="T8" fmla="*/ 17694720 60000 65536"/>
                <a:gd name="T9" fmla="*/ 0 60000 65536"/>
                <a:gd name="T10" fmla="*/ 5898240 60000 65536"/>
                <a:gd name="T11" fmla="*/ 11796480 60000 65536"/>
                <a:gd name="T12" fmla="*/ 0 w 15077"/>
                <a:gd name="T13" fmla="*/ 0 h 15077"/>
                <a:gd name="T14" fmla="*/ 15077 w 15077"/>
                <a:gd name="T15" fmla="*/ 15077 h 15077"/>
              </a:gdLst>
              <a:ahLst/>
              <a:cxnLst>
                <a:cxn ang="T8">
                  <a:pos x="T0" y="T1"/>
                </a:cxn>
                <a:cxn ang="T9">
                  <a:pos x="T2" y="T3"/>
                </a:cxn>
                <a:cxn ang="T10">
                  <a:pos x="T4" y="T5"/>
                </a:cxn>
                <a:cxn ang="T11">
                  <a:pos x="T6" y="T7"/>
                </a:cxn>
              </a:cxnLst>
              <a:rect l="T12" t="T13" r="T14" b="T15"/>
              <a:pathLst>
                <a:path w="15077" h="15077" fill="none">
                  <a:moveTo>
                    <a:pt x="11813" y="1340"/>
                  </a:moveTo>
                  <a:lnTo>
                    <a:pt x="11813" y="1340"/>
                  </a:lnTo>
                  <a:lnTo>
                    <a:pt x="11350" y="1024"/>
                  </a:lnTo>
                  <a:lnTo>
                    <a:pt x="10863" y="780"/>
                  </a:lnTo>
                  <a:lnTo>
                    <a:pt x="10351" y="537"/>
                  </a:lnTo>
                  <a:lnTo>
                    <a:pt x="9816" y="342"/>
                  </a:lnTo>
                  <a:lnTo>
                    <a:pt x="9280" y="196"/>
                  </a:lnTo>
                  <a:lnTo>
                    <a:pt x="8720" y="98"/>
                  </a:lnTo>
                  <a:lnTo>
                    <a:pt x="8135" y="25"/>
                  </a:lnTo>
                  <a:lnTo>
                    <a:pt x="7551" y="1"/>
                  </a:lnTo>
                  <a:lnTo>
                    <a:pt x="7161" y="1"/>
                  </a:lnTo>
                  <a:lnTo>
                    <a:pt x="6771" y="50"/>
                  </a:lnTo>
                  <a:lnTo>
                    <a:pt x="6406" y="98"/>
                  </a:lnTo>
                  <a:lnTo>
                    <a:pt x="6041" y="147"/>
                  </a:lnTo>
                  <a:lnTo>
                    <a:pt x="5675" y="244"/>
                  </a:lnTo>
                  <a:lnTo>
                    <a:pt x="5310" y="342"/>
                  </a:lnTo>
                  <a:lnTo>
                    <a:pt x="4969" y="464"/>
                  </a:lnTo>
                  <a:lnTo>
                    <a:pt x="4628" y="585"/>
                  </a:lnTo>
                  <a:lnTo>
                    <a:pt x="4287" y="731"/>
                  </a:lnTo>
                  <a:lnTo>
                    <a:pt x="3970" y="902"/>
                  </a:lnTo>
                  <a:lnTo>
                    <a:pt x="3654" y="1097"/>
                  </a:lnTo>
                  <a:lnTo>
                    <a:pt x="3337" y="1292"/>
                  </a:lnTo>
                  <a:lnTo>
                    <a:pt x="3045" y="1486"/>
                  </a:lnTo>
                  <a:lnTo>
                    <a:pt x="2753" y="1730"/>
                  </a:lnTo>
                  <a:lnTo>
                    <a:pt x="2485" y="1949"/>
                  </a:lnTo>
                  <a:lnTo>
                    <a:pt x="2217" y="2217"/>
                  </a:lnTo>
                  <a:lnTo>
                    <a:pt x="1973" y="2461"/>
                  </a:lnTo>
                  <a:lnTo>
                    <a:pt x="1730" y="2753"/>
                  </a:lnTo>
                  <a:lnTo>
                    <a:pt x="1510" y="3021"/>
                  </a:lnTo>
                  <a:lnTo>
                    <a:pt x="1291" y="3313"/>
                  </a:lnTo>
                  <a:lnTo>
                    <a:pt x="1096" y="3630"/>
                  </a:lnTo>
                  <a:lnTo>
                    <a:pt x="926" y="3946"/>
                  </a:lnTo>
                  <a:lnTo>
                    <a:pt x="755" y="4263"/>
                  </a:lnTo>
                  <a:lnTo>
                    <a:pt x="609" y="4604"/>
                  </a:lnTo>
                  <a:lnTo>
                    <a:pt x="463" y="4945"/>
                  </a:lnTo>
                  <a:lnTo>
                    <a:pt x="341" y="5286"/>
                  </a:lnTo>
                  <a:lnTo>
                    <a:pt x="244" y="5651"/>
                  </a:lnTo>
                  <a:lnTo>
                    <a:pt x="171" y="6016"/>
                  </a:lnTo>
                  <a:lnTo>
                    <a:pt x="98" y="6382"/>
                  </a:lnTo>
                  <a:lnTo>
                    <a:pt x="49" y="6771"/>
                  </a:lnTo>
                  <a:lnTo>
                    <a:pt x="25" y="7137"/>
                  </a:lnTo>
                  <a:lnTo>
                    <a:pt x="0" y="7526"/>
                  </a:lnTo>
                  <a:lnTo>
                    <a:pt x="25" y="7916"/>
                  </a:lnTo>
                  <a:lnTo>
                    <a:pt x="49" y="8306"/>
                  </a:lnTo>
                  <a:lnTo>
                    <a:pt x="98" y="8671"/>
                  </a:lnTo>
                  <a:lnTo>
                    <a:pt x="171" y="9061"/>
                  </a:lnTo>
                  <a:lnTo>
                    <a:pt x="244" y="9426"/>
                  </a:lnTo>
                  <a:lnTo>
                    <a:pt x="341" y="9767"/>
                  </a:lnTo>
                  <a:lnTo>
                    <a:pt x="463" y="10132"/>
                  </a:lnTo>
                  <a:lnTo>
                    <a:pt x="609" y="10473"/>
                  </a:lnTo>
                  <a:lnTo>
                    <a:pt x="755" y="10790"/>
                  </a:lnTo>
                  <a:lnTo>
                    <a:pt x="926" y="11131"/>
                  </a:lnTo>
                  <a:lnTo>
                    <a:pt x="1096" y="11448"/>
                  </a:lnTo>
                  <a:lnTo>
                    <a:pt x="1291" y="11740"/>
                  </a:lnTo>
                  <a:lnTo>
                    <a:pt x="1510" y="12032"/>
                  </a:lnTo>
                  <a:lnTo>
                    <a:pt x="1730" y="12324"/>
                  </a:lnTo>
                  <a:lnTo>
                    <a:pt x="1973" y="12592"/>
                  </a:lnTo>
                  <a:lnTo>
                    <a:pt x="2217" y="12860"/>
                  </a:lnTo>
                  <a:lnTo>
                    <a:pt x="2485" y="13104"/>
                  </a:lnTo>
                  <a:lnTo>
                    <a:pt x="2753" y="13347"/>
                  </a:lnTo>
                  <a:lnTo>
                    <a:pt x="3045" y="13567"/>
                  </a:lnTo>
                  <a:lnTo>
                    <a:pt x="3337" y="13786"/>
                  </a:lnTo>
                  <a:lnTo>
                    <a:pt x="3654" y="13981"/>
                  </a:lnTo>
                  <a:lnTo>
                    <a:pt x="3970" y="14151"/>
                  </a:lnTo>
                  <a:lnTo>
                    <a:pt x="4287" y="14322"/>
                  </a:lnTo>
                  <a:lnTo>
                    <a:pt x="4628" y="14468"/>
                  </a:lnTo>
                  <a:lnTo>
                    <a:pt x="4969" y="14614"/>
                  </a:lnTo>
                  <a:lnTo>
                    <a:pt x="5310" y="14736"/>
                  </a:lnTo>
                  <a:lnTo>
                    <a:pt x="5675" y="14833"/>
                  </a:lnTo>
                  <a:lnTo>
                    <a:pt x="6041" y="14906"/>
                  </a:lnTo>
                  <a:lnTo>
                    <a:pt x="6406" y="14979"/>
                  </a:lnTo>
                  <a:lnTo>
                    <a:pt x="6771" y="15028"/>
                  </a:lnTo>
                  <a:lnTo>
                    <a:pt x="7161" y="15052"/>
                  </a:lnTo>
                  <a:lnTo>
                    <a:pt x="7551" y="15077"/>
                  </a:lnTo>
                  <a:lnTo>
                    <a:pt x="7940" y="15052"/>
                  </a:lnTo>
                  <a:lnTo>
                    <a:pt x="8306" y="15028"/>
                  </a:lnTo>
                  <a:lnTo>
                    <a:pt x="8695" y="14979"/>
                  </a:lnTo>
                  <a:lnTo>
                    <a:pt x="9061" y="14906"/>
                  </a:lnTo>
                  <a:lnTo>
                    <a:pt x="9426" y="14833"/>
                  </a:lnTo>
                  <a:lnTo>
                    <a:pt x="9791" y="14736"/>
                  </a:lnTo>
                  <a:lnTo>
                    <a:pt x="10132" y="14614"/>
                  </a:lnTo>
                  <a:lnTo>
                    <a:pt x="10473" y="14468"/>
                  </a:lnTo>
                  <a:lnTo>
                    <a:pt x="10814" y="14322"/>
                  </a:lnTo>
                  <a:lnTo>
                    <a:pt x="11131" y="14151"/>
                  </a:lnTo>
                  <a:lnTo>
                    <a:pt x="11447" y="13981"/>
                  </a:lnTo>
                  <a:lnTo>
                    <a:pt x="11764" y="13786"/>
                  </a:lnTo>
                  <a:lnTo>
                    <a:pt x="12056" y="13567"/>
                  </a:lnTo>
                  <a:lnTo>
                    <a:pt x="12348" y="13347"/>
                  </a:lnTo>
                  <a:lnTo>
                    <a:pt x="12616" y="13104"/>
                  </a:lnTo>
                  <a:lnTo>
                    <a:pt x="12884" y="12860"/>
                  </a:lnTo>
                  <a:lnTo>
                    <a:pt x="13128" y="12592"/>
                  </a:lnTo>
                  <a:lnTo>
                    <a:pt x="13371" y="12324"/>
                  </a:lnTo>
                  <a:lnTo>
                    <a:pt x="13591" y="12032"/>
                  </a:lnTo>
                  <a:lnTo>
                    <a:pt x="13785" y="11740"/>
                  </a:lnTo>
                  <a:lnTo>
                    <a:pt x="13980" y="11448"/>
                  </a:lnTo>
                  <a:lnTo>
                    <a:pt x="14175" y="11131"/>
                  </a:lnTo>
                  <a:lnTo>
                    <a:pt x="14346" y="10790"/>
                  </a:lnTo>
                  <a:lnTo>
                    <a:pt x="14492" y="10473"/>
                  </a:lnTo>
                  <a:lnTo>
                    <a:pt x="14613" y="10132"/>
                  </a:lnTo>
                  <a:lnTo>
                    <a:pt x="14735" y="9767"/>
                  </a:lnTo>
                  <a:lnTo>
                    <a:pt x="14857" y="9426"/>
                  </a:lnTo>
                  <a:lnTo>
                    <a:pt x="14930" y="9061"/>
                  </a:lnTo>
                  <a:lnTo>
                    <a:pt x="15003" y="8671"/>
                  </a:lnTo>
                  <a:lnTo>
                    <a:pt x="15052" y="8306"/>
                  </a:lnTo>
                  <a:lnTo>
                    <a:pt x="15076" y="7916"/>
                  </a:lnTo>
                  <a:lnTo>
                    <a:pt x="15076" y="7526"/>
                  </a:lnTo>
                  <a:lnTo>
                    <a:pt x="15052" y="6918"/>
                  </a:lnTo>
                  <a:lnTo>
                    <a:pt x="14979" y="6309"/>
                  </a:lnTo>
                  <a:lnTo>
                    <a:pt x="14857" y="5724"/>
                  </a:lnTo>
                  <a:lnTo>
                    <a:pt x="14687" y="5164"/>
                  </a:lnTo>
                  <a:lnTo>
                    <a:pt x="14492" y="4604"/>
                  </a:lnTo>
                  <a:lnTo>
                    <a:pt x="14248" y="4068"/>
                  </a:lnTo>
                  <a:lnTo>
                    <a:pt x="13956" y="3581"/>
                  </a:lnTo>
                  <a:lnTo>
                    <a:pt x="13615" y="3094"/>
                  </a:lnTo>
                </a:path>
              </a:pathLst>
            </a:custGeom>
            <a:noFill/>
            <a:ln w="12170" cap="rnd">
              <a:solidFill>
                <a:srgbClr val="F2F2F2"/>
              </a:solidFill>
              <a:prstDash val="solid"/>
              <a:round/>
              <a:headEnd/>
              <a:tailEnd/>
            </a:ln>
            <a:extLst>
              <a:ext uri="{909E8E84-426E-40DD-AFC4-6F175D3DCCD1}">
                <a14:hiddenFill xmlns:a14="http://schemas.microsoft.com/office/drawing/2010/main">
                  <a:solidFill>
                    <a:srgbClr val="FFFFFF"/>
                  </a:solidFill>
                </a14:hiddenFill>
              </a:ext>
            </a:extLst>
          </p:spPr>
          <p:txBody>
            <a:bodyPr lIns="121898" tIns="121898" rIns="121898" bIns="121898" anchor="ctr"/>
            <a:lstStyle/>
            <a:p>
              <a:endParaRPr lang="it-IT"/>
            </a:p>
          </p:txBody>
        </p:sp>
        <p:sp>
          <p:nvSpPr>
            <p:cNvPr id="134186" name="Shape 633">
              <a:extLst>
                <a:ext uri="{FF2B5EF4-FFF2-40B4-BE49-F238E27FC236}">
                  <a16:creationId xmlns:a16="http://schemas.microsoft.com/office/drawing/2014/main" id="{B03119E7-C267-2C46-A3F1-BF5BFF1A7463}"/>
                </a:ext>
              </a:extLst>
            </p:cNvPr>
            <p:cNvSpPr>
              <a:spLocks/>
            </p:cNvSpPr>
            <p:nvPr/>
          </p:nvSpPr>
          <p:spPr bwMode="auto">
            <a:xfrm>
              <a:off x="5562596" y="1444623"/>
              <a:ext cx="282577" cy="282577"/>
            </a:xfrm>
            <a:custGeom>
              <a:avLst/>
              <a:gdLst>
                <a:gd name="T0" fmla="*/ 3571111 w 11180"/>
                <a:gd name="T1" fmla="*/ 0 h 11180"/>
                <a:gd name="T2" fmla="*/ 7142197 w 11180"/>
                <a:gd name="T3" fmla="*/ 3571111 h 11180"/>
                <a:gd name="T4" fmla="*/ 3571111 w 11180"/>
                <a:gd name="T5" fmla="*/ 7142197 h 11180"/>
                <a:gd name="T6" fmla="*/ 0 w 11180"/>
                <a:gd name="T7" fmla="*/ 3571111 h 11180"/>
                <a:gd name="T8" fmla="*/ 17694720 60000 65536"/>
                <a:gd name="T9" fmla="*/ 0 60000 65536"/>
                <a:gd name="T10" fmla="*/ 5898240 60000 65536"/>
                <a:gd name="T11" fmla="*/ 11796480 60000 65536"/>
                <a:gd name="T12" fmla="*/ 0 w 11180"/>
                <a:gd name="T13" fmla="*/ 0 h 11180"/>
                <a:gd name="T14" fmla="*/ 11180 w 11180"/>
                <a:gd name="T15" fmla="*/ 11180 h 11180"/>
              </a:gdLst>
              <a:ahLst/>
              <a:cxnLst>
                <a:cxn ang="T8">
                  <a:pos x="T0" y="T1"/>
                </a:cxn>
                <a:cxn ang="T9">
                  <a:pos x="T2" y="T3"/>
                </a:cxn>
                <a:cxn ang="T10">
                  <a:pos x="T4" y="T5"/>
                </a:cxn>
                <a:cxn ang="T11">
                  <a:pos x="T6" y="T7"/>
                </a:cxn>
              </a:cxnLst>
              <a:rect l="T12" t="T13" r="T14" b="T15"/>
              <a:pathLst>
                <a:path w="11180" h="11180" fill="none">
                  <a:moveTo>
                    <a:pt x="10181" y="2387"/>
                  </a:moveTo>
                  <a:lnTo>
                    <a:pt x="10181" y="2387"/>
                  </a:lnTo>
                  <a:lnTo>
                    <a:pt x="10400" y="2728"/>
                  </a:lnTo>
                  <a:lnTo>
                    <a:pt x="10595" y="3093"/>
                  </a:lnTo>
                  <a:lnTo>
                    <a:pt x="10766" y="3483"/>
                  </a:lnTo>
                  <a:lnTo>
                    <a:pt x="10912" y="3873"/>
                  </a:lnTo>
                  <a:lnTo>
                    <a:pt x="11034" y="4287"/>
                  </a:lnTo>
                  <a:lnTo>
                    <a:pt x="11107" y="4701"/>
                  </a:lnTo>
                  <a:lnTo>
                    <a:pt x="11180" y="5139"/>
                  </a:lnTo>
                  <a:lnTo>
                    <a:pt x="11180" y="5577"/>
                  </a:lnTo>
                  <a:lnTo>
                    <a:pt x="11155" y="6162"/>
                  </a:lnTo>
                  <a:lnTo>
                    <a:pt x="11082" y="6722"/>
                  </a:lnTo>
                  <a:lnTo>
                    <a:pt x="10936" y="7234"/>
                  </a:lnTo>
                  <a:lnTo>
                    <a:pt x="10741" y="7769"/>
                  </a:lnTo>
                  <a:lnTo>
                    <a:pt x="10522" y="8257"/>
                  </a:lnTo>
                  <a:lnTo>
                    <a:pt x="10230" y="8695"/>
                  </a:lnTo>
                  <a:lnTo>
                    <a:pt x="9913" y="9133"/>
                  </a:lnTo>
                  <a:lnTo>
                    <a:pt x="9548" y="9523"/>
                  </a:lnTo>
                  <a:lnTo>
                    <a:pt x="9158" y="9888"/>
                  </a:lnTo>
                  <a:lnTo>
                    <a:pt x="8720" y="10205"/>
                  </a:lnTo>
                  <a:lnTo>
                    <a:pt x="8257" y="10497"/>
                  </a:lnTo>
                  <a:lnTo>
                    <a:pt x="7770" y="10741"/>
                  </a:lnTo>
                  <a:lnTo>
                    <a:pt x="7259" y="10911"/>
                  </a:lnTo>
                  <a:lnTo>
                    <a:pt x="6723" y="11057"/>
                  </a:lnTo>
                  <a:lnTo>
                    <a:pt x="6163" y="11155"/>
                  </a:lnTo>
                  <a:lnTo>
                    <a:pt x="5603" y="11179"/>
                  </a:lnTo>
                  <a:lnTo>
                    <a:pt x="5018" y="11155"/>
                  </a:lnTo>
                  <a:lnTo>
                    <a:pt x="4482" y="11057"/>
                  </a:lnTo>
                  <a:lnTo>
                    <a:pt x="3946" y="10911"/>
                  </a:lnTo>
                  <a:lnTo>
                    <a:pt x="3435" y="10741"/>
                  </a:lnTo>
                  <a:lnTo>
                    <a:pt x="2948" y="10497"/>
                  </a:lnTo>
                  <a:lnTo>
                    <a:pt x="2485" y="10205"/>
                  </a:lnTo>
                  <a:lnTo>
                    <a:pt x="2047" y="9888"/>
                  </a:lnTo>
                  <a:lnTo>
                    <a:pt x="1657" y="9523"/>
                  </a:lnTo>
                  <a:lnTo>
                    <a:pt x="1292" y="9133"/>
                  </a:lnTo>
                  <a:lnTo>
                    <a:pt x="975" y="8695"/>
                  </a:lnTo>
                  <a:lnTo>
                    <a:pt x="683" y="8257"/>
                  </a:lnTo>
                  <a:lnTo>
                    <a:pt x="464" y="7769"/>
                  </a:lnTo>
                  <a:lnTo>
                    <a:pt x="269" y="7234"/>
                  </a:lnTo>
                  <a:lnTo>
                    <a:pt x="123" y="6722"/>
                  </a:lnTo>
                  <a:lnTo>
                    <a:pt x="50" y="6162"/>
                  </a:lnTo>
                  <a:lnTo>
                    <a:pt x="1" y="5577"/>
                  </a:lnTo>
                  <a:lnTo>
                    <a:pt x="50" y="5017"/>
                  </a:lnTo>
                  <a:lnTo>
                    <a:pt x="123" y="4457"/>
                  </a:lnTo>
                  <a:lnTo>
                    <a:pt x="269" y="3921"/>
                  </a:lnTo>
                  <a:lnTo>
                    <a:pt x="464" y="3410"/>
                  </a:lnTo>
                  <a:lnTo>
                    <a:pt x="683" y="2923"/>
                  </a:lnTo>
                  <a:lnTo>
                    <a:pt x="975" y="2460"/>
                  </a:lnTo>
                  <a:lnTo>
                    <a:pt x="1292" y="2046"/>
                  </a:lnTo>
                  <a:lnTo>
                    <a:pt x="1657" y="1632"/>
                  </a:lnTo>
                  <a:lnTo>
                    <a:pt x="2047" y="1267"/>
                  </a:lnTo>
                  <a:lnTo>
                    <a:pt x="2485" y="950"/>
                  </a:lnTo>
                  <a:lnTo>
                    <a:pt x="2948" y="682"/>
                  </a:lnTo>
                  <a:lnTo>
                    <a:pt x="3435" y="439"/>
                  </a:lnTo>
                  <a:lnTo>
                    <a:pt x="3946" y="244"/>
                  </a:lnTo>
                  <a:lnTo>
                    <a:pt x="4482" y="122"/>
                  </a:lnTo>
                  <a:lnTo>
                    <a:pt x="5018" y="25"/>
                  </a:lnTo>
                  <a:lnTo>
                    <a:pt x="5603" y="0"/>
                  </a:lnTo>
                  <a:lnTo>
                    <a:pt x="6041" y="25"/>
                  </a:lnTo>
                  <a:lnTo>
                    <a:pt x="6479" y="73"/>
                  </a:lnTo>
                  <a:lnTo>
                    <a:pt x="6893" y="146"/>
                  </a:lnTo>
                  <a:lnTo>
                    <a:pt x="7307" y="268"/>
                  </a:lnTo>
                  <a:lnTo>
                    <a:pt x="7697" y="414"/>
                  </a:lnTo>
                  <a:lnTo>
                    <a:pt x="8087" y="585"/>
                  </a:lnTo>
                  <a:lnTo>
                    <a:pt x="8452" y="780"/>
                  </a:lnTo>
                  <a:lnTo>
                    <a:pt x="8793" y="999"/>
                  </a:lnTo>
                </a:path>
              </a:pathLst>
            </a:custGeom>
            <a:noFill/>
            <a:ln w="12170" cap="rnd">
              <a:solidFill>
                <a:srgbClr val="F2F2F2"/>
              </a:solidFill>
              <a:prstDash val="solid"/>
              <a:round/>
              <a:headEnd/>
              <a:tailEnd/>
            </a:ln>
            <a:extLst>
              <a:ext uri="{909E8E84-426E-40DD-AFC4-6F175D3DCCD1}">
                <a14:hiddenFill xmlns:a14="http://schemas.microsoft.com/office/drawing/2010/main">
                  <a:solidFill>
                    <a:srgbClr val="FFFFFF"/>
                  </a:solidFill>
                </a14:hiddenFill>
              </a:ext>
            </a:extLst>
          </p:spPr>
          <p:txBody>
            <a:bodyPr lIns="121898" tIns="121898" rIns="121898" bIns="121898" anchor="ctr"/>
            <a:lstStyle/>
            <a:p>
              <a:endParaRPr lang="it-IT"/>
            </a:p>
          </p:txBody>
        </p:sp>
        <p:sp>
          <p:nvSpPr>
            <p:cNvPr id="134187" name="Shape 634">
              <a:extLst>
                <a:ext uri="{FF2B5EF4-FFF2-40B4-BE49-F238E27FC236}">
                  <a16:creationId xmlns:a16="http://schemas.microsoft.com/office/drawing/2014/main" id="{D766B7B0-25F8-BC4C-8C7A-7A9E35428EE8}"/>
                </a:ext>
              </a:extLst>
            </p:cNvPr>
            <p:cNvSpPr>
              <a:spLocks/>
            </p:cNvSpPr>
            <p:nvPr/>
          </p:nvSpPr>
          <p:spPr bwMode="auto">
            <a:xfrm>
              <a:off x="5661022" y="1543050"/>
              <a:ext cx="85725" cy="85725"/>
            </a:xfrm>
            <a:custGeom>
              <a:avLst/>
              <a:gdLst>
                <a:gd name="T0" fmla="*/ 1085183 w 3386"/>
                <a:gd name="T1" fmla="*/ 0 h 3386"/>
                <a:gd name="T2" fmla="*/ 2170341 w 3386"/>
                <a:gd name="T3" fmla="*/ 1085183 h 3386"/>
                <a:gd name="T4" fmla="*/ 1085183 w 3386"/>
                <a:gd name="T5" fmla="*/ 2170341 h 3386"/>
                <a:gd name="T6" fmla="*/ 0 w 3386"/>
                <a:gd name="T7" fmla="*/ 1085183 h 3386"/>
                <a:gd name="T8" fmla="*/ 17694720 60000 65536"/>
                <a:gd name="T9" fmla="*/ 0 60000 65536"/>
                <a:gd name="T10" fmla="*/ 5898240 60000 65536"/>
                <a:gd name="T11" fmla="*/ 11796480 60000 65536"/>
                <a:gd name="T12" fmla="*/ 0 w 3386"/>
                <a:gd name="T13" fmla="*/ 0 h 3386"/>
                <a:gd name="T14" fmla="*/ 3386 w 3386"/>
                <a:gd name="T15" fmla="*/ 3386 h 3386"/>
              </a:gdLst>
              <a:ahLst/>
              <a:cxnLst>
                <a:cxn ang="T8">
                  <a:pos x="T0" y="T1"/>
                </a:cxn>
                <a:cxn ang="T9">
                  <a:pos x="T2" y="T3"/>
                </a:cxn>
                <a:cxn ang="T10">
                  <a:pos x="T4" y="T5"/>
                </a:cxn>
                <a:cxn ang="T11">
                  <a:pos x="T6" y="T7"/>
                </a:cxn>
              </a:cxnLst>
              <a:rect l="T12" t="T13" r="T14" b="T15"/>
              <a:pathLst>
                <a:path w="3386" h="3386" fill="none">
                  <a:moveTo>
                    <a:pt x="3362" y="1388"/>
                  </a:moveTo>
                  <a:lnTo>
                    <a:pt x="3362" y="1388"/>
                  </a:lnTo>
                  <a:lnTo>
                    <a:pt x="3386" y="1680"/>
                  </a:lnTo>
                  <a:lnTo>
                    <a:pt x="3386" y="1851"/>
                  </a:lnTo>
                  <a:lnTo>
                    <a:pt x="3362" y="2021"/>
                  </a:lnTo>
                  <a:lnTo>
                    <a:pt x="3313" y="2192"/>
                  </a:lnTo>
                  <a:lnTo>
                    <a:pt x="3264" y="2338"/>
                  </a:lnTo>
                  <a:lnTo>
                    <a:pt x="3191" y="2484"/>
                  </a:lnTo>
                  <a:lnTo>
                    <a:pt x="3118" y="2630"/>
                  </a:lnTo>
                  <a:lnTo>
                    <a:pt x="3021" y="2776"/>
                  </a:lnTo>
                  <a:lnTo>
                    <a:pt x="2899" y="2898"/>
                  </a:lnTo>
                  <a:lnTo>
                    <a:pt x="2777" y="2996"/>
                  </a:lnTo>
                  <a:lnTo>
                    <a:pt x="2655" y="3093"/>
                  </a:lnTo>
                  <a:lnTo>
                    <a:pt x="2509" y="3191"/>
                  </a:lnTo>
                  <a:lnTo>
                    <a:pt x="2363" y="3239"/>
                  </a:lnTo>
                  <a:lnTo>
                    <a:pt x="2217" y="3312"/>
                  </a:lnTo>
                  <a:lnTo>
                    <a:pt x="2046" y="3337"/>
                  </a:lnTo>
                  <a:lnTo>
                    <a:pt x="1876" y="3385"/>
                  </a:lnTo>
                  <a:lnTo>
                    <a:pt x="1706" y="3385"/>
                  </a:lnTo>
                  <a:lnTo>
                    <a:pt x="1535" y="3385"/>
                  </a:lnTo>
                  <a:lnTo>
                    <a:pt x="1365" y="3337"/>
                  </a:lnTo>
                  <a:lnTo>
                    <a:pt x="1194" y="3312"/>
                  </a:lnTo>
                  <a:lnTo>
                    <a:pt x="1048" y="3239"/>
                  </a:lnTo>
                  <a:lnTo>
                    <a:pt x="902" y="3191"/>
                  </a:lnTo>
                  <a:lnTo>
                    <a:pt x="756" y="3093"/>
                  </a:lnTo>
                  <a:lnTo>
                    <a:pt x="634" y="2996"/>
                  </a:lnTo>
                  <a:lnTo>
                    <a:pt x="512" y="2898"/>
                  </a:lnTo>
                  <a:lnTo>
                    <a:pt x="390" y="2776"/>
                  </a:lnTo>
                  <a:lnTo>
                    <a:pt x="293" y="2630"/>
                  </a:lnTo>
                  <a:lnTo>
                    <a:pt x="220" y="2484"/>
                  </a:lnTo>
                  <a:lnTo>
                    <a:pt x="147" y="2338"/>
                  </a:lnTo>
                  <a:lnTo>
                    <a:pt x="74" y="2192"/>
                  </a:lnTo>
                  <a:lnTo>
                    <a:pt x="49" y="2021"/>
                  </a:lnTo>
                  <a:lnTo>
                    <a:pt x="25" y="1851"/>
                  </a:lnTo>
                  <a:lnTo>
                    <a:pt x="1" y="1680"/>
                  </a:lnTo>
                  <a:lnTo>
                    <a:pt x="25" y="1510"/>
                  </a:lnTo>
                  <a:lnTo>
                    <a:pt x="49" y="1340"/>
                  </a:lnTo>
                  <a:lnTo>
                    <a:pt x="74" y="1193"/>
                  </a:lnTo>
                  <a:lnTo>
                    <a:pt x="147" y="1023"/>
                  </a:lnTo>
                  <a:lnTo>
                    <a:pt x="220" y="877"/>
                  </a:lnTo>
                  <a:lnTo>
                    <a:pt x="293" y="731"/>
                  </a:lnTo>
                  <a:lnTo>
                    <a:pt x="390" y="609"/>
                  </a:lnTo>
                  <a:lnTo>
                    <a:pt x="512" y="487"/>
                  </a:lnTo>
                  <a:lnTo>
                    <a:pt x="634" y="390"/>
                  </a:lnTo>
                  <a:lnTo>
                    <a:pt x="756" y="292"/>
                  </a:lnTo>
                  <a:lnTo>
                    <a:pt x="902" y="195"/>
                  </a:lnTo>
                  <a:lnTo>
                    <a:pt x="1048" y="122"/>
                  </a:lnTo>
                  <a:lnTo>
                    <a:pt x="1194" y="73"/>
                  </a:lnTo>
                  <a:lnTo>
                    <a:pt x="1365" y="24"/>
                  </a:lnTo>
                  <a:lnTo>
                    <a:pt x="1535" y="0"/>
                  </a:lnTo>
                  <a:lnTo>
                    <a:pt x="1706" y="0"/>
                  </a:lnTo>
                  <a:lnTo>
                    <a:pt x="1998" y="24"/>
                  </a:lnTo>
                </a:path>
              </a:pathLst>
            </a:custGeom>
            <a:noFill/>
            <a:ln w="12170" cap="rnd">
              <a:solidFill>
                <a:srgbClr val="F2F2F2"/>
              </a:solidFill>
              <a:prstDash val="solid"/>
              <a:round/>
              <a:headEnd/>
              <a:tailEnd/>
            </a:ln>
            <a:extLst>
              <a:ext uri="{909E8E84-426E-40DD-AFC4-6F175D3DCCD1}">
                <a14:hiddenFill xmlns:a14="http://schemas.microsoft.com/office/drawing/2010/main">
                  <a:solidFill>
                    <a:srgbClr val="FFFFFF"/>
                  </a:solidFill>
                </a14:hiddenFill>
              </a:ext>
            </a:extLst>
          </p:spPr>
          <p:txBody>
            <a:bodyPr lIns="121898" tIns="121898" rIns="121898" bIns="121898" anchor="ctr"/>
            <a:lstStyle/>
            <a:p>
              <a:endParaRPr lang="it-IT"/>
            </a:p>
          </p:txBody>
        </p:sp>
        <p:sp>
          <p:nvSpPr>
            <p:cNvPr id="134188" name="Shape 635">
              <a:extLst>
                <a:ext uri="{FF2B5EF4-FFF2-40B4-BE49-F238E27FC236}">
                  <a16:creationId xmlns:a16="http://schemas.microsoft.com/office/drawing/2014/main" id="{6DFB98EF-588A-F445-9F7A-F6C2389EE4E1}"/>
                </a:ext>
              </a:extLst>
            </p:cNvPr>
            <p:cNvSpPr>
              <a:spLocks/>
            </p:cNvSpPr>
            <p:nvPr/>
          </p:nvSpPr>
          <p:spPr bwMode="auto">
            <a:xfrm>
              <a:off x="5611809" y="1493836"/>
              <a:ext cx="184151" cy="184151"/>
            </a:xfrm>
            <a:custGeom>
              <a:avLst/>
              <a:gdLst>
                <a:gd name="T0" fmla="*/ 2328146 w 7283"/>
                <a:gd name="T1" fmla="*/ 0 h 7283"/>
                <a:gd name="T2" fmla="*/ 4656267 w 7283"/>
                <a:gd name="T3" fmla="*/ 2328146 h 7283"/>
                <a:gd name="T4" fmla="*/ 2328146 w 7283"/>
                <a:gd name="T5" fmla="*/ 4656267 h 7283"/>
                <a:gd name="T6" fmla="*/ 0 w 7283"/>
                <a:gd name="T7" fmla="*/ 2328146 h 7283"/>
                <a:gd name="T8" fmla="*/ 17694720 60000 65536"/>
                <a:gd name="T9" fmla="*/ 0 60000 65536"/>
                <a:gd name="T10" fmla="*/ 5898240 60000 65536"/>
                <a:gd name="T11" fmla="*/ 11796480 60000 65536"/>
                <a:gd name="T12" fmla="*/ 0 w 7283"/>
                <a:gd name="T13" fmla="*/ 0 h 7283"/>
                <a:gd name="T14" fmla="*/ 7283 w 7283"/>
                <a:gd name="T15" fmla="*/ 7283 h 7283"/>
              </a:gdLst>
              <a:ahLst/>
              <a:cxnLst>
                <a:cxn ang="T8">
                  <a:pos x="T0" y="T1"/>
                </a:cxn>
                <a:cxn ang="T9">
                  <a:pos x="T2" y="T3"/>
                </a:cxn>
                <a:cxn ang="T10">
                  <a:pos x="T4" y="T5"/>
                </a:cxn>
                <a:cxn ang="T11">
                  <a:pos x="T6" y="T7"/>
                </a:cxn>
              </a:cxnLst>
              <a:rect l="T12" t="T13" r="T14" b="T15"/>
              <a:pathLst>
                <a:path w="7283" h="7283" fill="none">
                  <a:moveTo>
                    <a:pt x="5431" y="463"/>
                  </a:moveTo>
                  <a:lnTo>
                    <a:pt x="5431" y="463"/>
                  </a:lnTo>
                  <a:lnTo>
                    <a:pt x="5042" y="269"/>
                  </a:lnTo>
                  <a:lnTo>
                    <a:pt x="4823" y="195"/>
                  </a:lnTo>
                  <a:lnTo>
                    <a:pt x="4603" y="122"/>
                  </a:lnTo>
                  <a:lnTo>
                    <a:pt x="4360" y="74"/>
                  </a:lnTo>
                  <a:lnTo>
                    <a:pt x="4141" y="25"/>
                  </a:lnTo>
                  <a:lnTo>
                    <a:pt x="3897" y="1"/>
                  </a:lnTo>
                  <a:lnTo>
                    <a:pt x="3654" y="1"/>
                  </a:lnTo>
                  <a:lnTo>
                    <a:pt x="3288" y="25"/>
                  </a:lnTo>
                  <a:lnTo>
                    <a:pt x="2923" y="74"/>
                  </a:lnTo>
                  <a:lnTo>
                    <a:pt x="2558" y="147"/>
                  </a:lnTo>
                  <a:lnTo>
                    <a:pt x="2241" y="293"/>
                  </a:lnTo>
                  <a:lnTo>
                    <a:pt x="1924" y="439"/>
                  </a:lnTo>
                  <a:lnTo>
                    <a:pt x="1608" y="609"/>
                  </a:lnTo>
                  <a:lnTo>
                    <a:pt x="1340" y="829"/>
                  </a:lnTo>
                  <a:lnTo>
                    <a:pt x="1072" y="1072"/>
                  </a:lnTo>
                  <a:lnTo>
                    <a:pt x="828" y="1316"/>
                  </a:lnTo>
                  <a:lnTo>
                    <a:pt x="633" y="1608"/>
                  </a:lnTo>
                  <a:lnTo>
                    <a:pt x="439" y="1900"/>
                  </a:lnTo>
                  <a:lnTo>
                    <a:pt x="293" y="2217"/>
                  </a:lnTo>
                  <a:lnTo>
                    <a:pt x="171" y="2558"/>
                  </a:lnTo>
                  <a:lnTo>
                    <a:pt x="73" y="2899"/>
                  </a:lnTo>
                  <a:lnTo>
                    <a:pt x="25" y="3264"/>
                  </a:lnTo>
                  <a:lnTo>
                    <a:pt x="0" y="3629"/>
                  </a:lnTo>
                  <a:lnTo>
                    <a:pt x="25" y="4019"/>
                  </a:lnTo>
                  <a:lnTo>
                    <a:pt x="73" y="4360"/>
                  </a:lnTo>
                  <a:lnTo>
                    <a:pt x="171" y="4725"/>
                  </a:lnTo>
                  <a:lnTo>
                    <a:pt x="293" y="5066"/>
                  </a:lnTo>
                  <a:lnTo>
                    <a:pt x="439" y="5383"/>
                  </a:lnTo>
                  <a:lnTo>
                    <a:pt x="633" y="5675"/>
                  </a:lnTo>
                  <a:lnTo>
                    <a:pt x="828" y="5943"/>
                  </a:lnTo>
                  <a:lnTo>
                    <a:pt x="1072" y="6211"/>
                  </a:lnTo>
                  <a:lnTo>
                    <a:pt x="1340" y="6455"/>
                  </a:lnTo>
                  <a:lnTo>
                    <a:pt x="1608" y="6650"/>
                  </a:lnTo>
                  <a:lnTo>
                    <a:pt x="1924" y="6844"/>
                  </a:lnTo>
                  <a:lnTo>
                    <a:pt x="2241" y="6990"/>
                  </a:lnTo>
                  <a:lnTo>
                    <a:pt x="2558" y="7112"/>
                  </a:lnTo>
                  <a:lnTo>
                    <a:pt x="2923" y="7210"/>
                  </a:lnTo>
                  <a:lnTo>
                    <a:pt x="3288" y="7258"/>
                  </a:lnTo>
                  <a:lnTo>
                    <a:pt x="3654" y="7283"/>
                  </a:lnTo>
                  <a:lnTo>
                    <a:pt x="4019" y="7258"/>
                  </a:lnTo>
                  <a:lnTo>
                    <a:pt x="4384" y="7210"/>
                  </a:lnTo>
                  <a:lnTo>
                    <a:pt x="4725" y="7112"/>
                  </a:lnTo>
                  <a:lnTo>
                    <a:pt x="5066" y="6990"/>
                  </a:lnTo>
                  <a:lnTo>
                    <a:pt x="5383" y="6844"/>
                  </a:lnTo>
                  <a:lnTo>
                    <a:pt x="5675" y="6650"/>
                  </a:lnTo>
                  <a:lnTo>
                    <a:pt x="5967" y="6455"/>
                  </a:lnTo>
                  <a:lnTo>
                    <a:pt x="6235" y="6211"/>
                  </a:lnTo>
                  <a:lnTo>
                    <a:pt x="6454" y="5943"/>
                  </a:lnTo>
                  <a:lnTo>
                    <a:pt x="6674" y="5675"/>
                  </a:lnTo>
                  <a:lnTo>
                    <a:pt x="6844" y="5383"/>
                  </a:lnTo>
                  <a:lnTo>
                    <a:pt x="7014" y="5066"/>
                  </a:lnTo>
                  <a:lnTo>
                    <a:pt x="7136" y="4725"/>
                  </a:lnTo>
                  <a:lnTo>
                    <a:pt x="7209" y="4360"/>
                  </a:lnTo>
                  <a:lnTo>
                    <a:pt x="7282" y="4019"/>
                  </a:lnTo>
                  <a:lnTo>
                    <a:pt x="7282" y="3629"/>
                  </a:lnTo>
                  <a:lnTo>
                    <a:pt x="7282" y="3386"/>
                  </a:lnTo>
                  <a:lnTo>
                    <a:pt x="7258" y="3167"/>
                  </a:lnTo>
                  <a:lnTo>
                    <a:pt x="7234" y="2923"/>
                  </a:lnTo>
                  <a:lnTo>
                    <a:pt x="7161" y="2704"/>
                  </a:lnTo>
                  <a:lnTo>
                    <a:pt x="7112" y="2485"/>
                  </a:lnTo>
                  <a:lnTo>
                    <a:pt x="7014" y="2266"/>
                  </a:lnTo>
                  <a:lnTo>
                    <a:pt x="6820" y="1852"/>
                  </a:lnTo>
                </a:path>
              </a:pathLst>
            </a:custGeom>
            <a:noFill/>
            <a:ln w="12170" cap="rnd">
              <a:solidFill>
                <a:srgbClr val="F2F2F2"/>
              </a:solidFill>
              <a:prstDash val="solid"/>
              <a:round/>
              <a:headEnd/>
              <a:tailEnd/>
            </a:ln>
            <a:extLst>
              <a:ext uri="{909E8E84-426E-40DD-AFC4-6F175D3DCCD1}">
                <a14:hiddenFill xmlns:a14="http://schemas.microsoft.com/office/drawing/2010/main">
                  <a:solidFill>
                    <a:srgbClr val="FFFFFF"/>
                  </a:solidFill>
                </a14:hiddenFill>
              </a:ext>
            </a:extLst>
          </p:spPr>
          <p:txBody>
            <a:bodyPr lIns="121898" tIns="121898" rIns="121898" bIns="121898" anchor="ctr"/>
            <a:lstStyle/>
            <a:p>
              <a:endParaRPr lang="it-IT"/>
            </a:p>
          </p:txBody>
        </p:sp>
        <p:sp>
          <p:nvSpPr>
            <p:cNvPr id="134189" name="Shape 636">
              <a:extLst>
                <a:ext uri="{FF2B5EF4-FFF2-40B4-BE49-F238E27FC236}">
                  <a16:creationId xmlns:a16="http://schemas.microsoft.com/office/drawing/2014/main" id="{A50D8BBF-2ADB-A24B-A0F0-113963BA335A}"/>
                </a:ext>
              </a:extLst>
            </p:cNvPr>
            <p:cNvSpPr>
              <a:spLocks/>
            </p:cNvSpPr>
            <p:nvPr/>
          </p:nvSpPr>
          <p:spPr bwMode="auto">
            <a:xfrm>
              <a:off x="5524503" y="1720845"/>
              <a:ext cx="74615" cy="71442"/>
            </a:xfrm>
            <a:custGeom>
              <a:avLst/>
              <a:gdLst>
                <a:gd name="T0" fmla="*/ 928841 w 2997"/>
                <a:gd name="T1" fmla="*/ 0 h 2827"/>
                <a:gd name="T2" fmla="*/ 1857657 w 2997"/>
                <a:gd name="T3" fmla="*/ 902717 h 2827"/>
                <a:gd name="T4" fmla="*/ 928841 w 2997"/>
                <a:gd name="T5" fmla="*/ 1805433 h 2827"/>
                <a:gd name="T6" fmla="*/ 0 w 2997"/>
                <a:gd name="T7" fmla="*/ 902717 h 2827"/>
                <a:gd name="T8" fmla="*/ 17694720 60000 65536"/>
                <a:gd name="T9" fmla="*/ 0 60000 65536"/>
                <a:gd name="T10" fmla="*/ 5898240 60000 65536"/>
                <a:gd name="T11" fmla="*/ 11796480 60000 65536"/>
                <a:gd name="T12" fmla="*/ 0 w 2997"/>
                <a:gd name="T13" fmla="*/ 0 h 2827"/>
                <a:gd name="T14" fmla="*/ 2997 w 2997"/>
                <a:gd name="T15" fmla="*/ 2827 h 2827"/>
              </a:gdLst>
              <a:ahLst/>
              <a:cxnLst>
                <a:cxn ang="T8">
                  <a:pos x="T0" y="T1"/>
                </a:cxn>
                <a:cxn ang="T9">
                  <a:pos x="T2" y="T3"/>
                </a:cxn>
                <a:cxn ang="T10">
                  <a:pos x="T4" y="T5"/>
                </a:cxn>
                <a:cxn ang="T11">
                  <a:pos x="T6" y="T7"/>
                </a:cxn>
              </a:cxnLst>
              <a:rect l="T12" t="T13" r="T14" b="T15"/>
              <a:pathLst>
                <a:path w="2997" h="2827" fill="none">
                  <a:moveTo>
                    <a:pt x="1462" y="1"/>
                  </a:moveTo>
                  <a:lnTo>
                    <a:pt x="293" y="1170"/>
                  </a:lnTo>
                  <a:lnTo>
                    <a:pt x="171" y="1316"/>
                  </a:lnTo>
                  <a:lnTo>
                    <a:pt x="74" y="1487"/>
                  </a:lnTo>
                  <a:lnTo>
                    <a:pt x="25" y="1657"/>
                  </a:lnTo>
                  <a:lnTo>
                    <a:pt x="1" y="1852"/>
                  </a:lnTo>
                  <a:lnTo>
                    <a:pt x="25" y="2047"/>
                  </a:lnTo>
                  <a:lnTo>
                    <a:pt x="74" y="2217"/>
                  </a:lnTo>
                  <a:lnTo>
                    <a:pt x="171" y="2388"/>
                  </a:lnTo>
                  <a:lnTo>
                    <a:pt x="293" y="2534"/>
                  </a:lnTo>
                  <a:lnTo>
                    <a:pt x="439" y="2656"/>
                  </a:lnTo>
                  <a:lnTo>
                    <a:pt x="609" y="2753"/>
                  </a:lnTo>
                  <a:lnTo>
                    <a:pt x="804" y="2802"/>
                  </a:lnTo>
                  <a:lnTo>
                    <a:pt x="975" y="2826"/>
                  </a:lnTo>
                  <a:lnTo>
                    <a:pt x="1170" y="2802"/>
                  </a:lnTo>
                  <a:lnTo>
                    <a:pt x="1340" y="2753"/>
                  </a:lnTo>
                  <a:lnTo>
                    <a:pt x="1511" y="2656"/>
                  </a:lnTo>
                  <a:lnTo>
                    <a:pt x="1681" y="2534"/>
                  </a:lnTo>
                  <a:lnTo>
                    <a:pt x="2850" y="1365"/>
                  </a:lnTo>
                  <a:lnTo>
                    <a:pt x="2996" y="1194"/>
                  </a:lnTo>
                </a:path>
              </a:pathLst>
            </a:custGeom>
            <a:noFill/>
            <a:ln w="12170" cap="rnd">
              <a:solidFill>
                <a:srgbClr val="F2F2F2"/>
              </a:solidFill>
              <a:prstDash val="solid"/>
              <a:round/>
              <a:headEnd/>
              <a:tailEnd/>
            </a:ln>
            <a:extLst>
              <a:ext uri="{909E8E84-426E-40DD-AFC4-6F175D3DCCD1}">
                <a14:hiddenFill xmlns:a14="http://schemas.microsoft.com/office/drawing/2010/main">
                  <a:solidFill>
                    <a:srgbClr val="FFFFFF"/>
                  </a:solidFill>
                </a14:hiddenFill>
              </a:ext>
            </a:extLst>
          </p:spPr>
          <p:txBody>
            <a:bodyPr lIns="121898" tIns="121898" rIns="121898" bIns="121898" anchor="ctr"/>
            <a:lstStyle/>
            <a:p>
              <a:endParaRPr lang="it-IT"/>
            </a:p>
          </p:txBody>
        </p:sp>
        <p:sp>
          <p:nvSpPr>
            <p:cNvPr id="134190" name="Shape 637">
              <a:extLst>
                <a:ext uri="{FF2B5EF4-FFF2-40B4-BE49-F238E27FC236}">
                  <a16:creationId xmlns:a16="http://schemas.microsoft.com/office/drawing/2014/main" id="{67C9F693-93E7-F144-8CDD-19D20092C425}"/>
                </a:ext>
              </a:extLst>
            </p:cNvPr>
            <p:cNvSpPr>
              <a:spLocks/>
            </p:cNvSpPr>
            <p:nvPr/>
          </p:nvSpPr>
          <p:spPr bwMode="auto">
            <a:xfrm>
              <a:off x="5808661" y="1720845"/>
              <a:ext cx="74615" cy="71442"/>
            </a:xfrm>
            <a:custGeom>
              <a:avLst/>
              <a:gdLst>
                <a:gd name="T0" fmla="*/ 936339 w 2973"/>
                <a:gd name="T1" fmla="*/ 0 h 2827"/>
                <a:gd name="T2" fmla="*/ 1872653 w 2973"/>
                <a:gd name="T3" fmla="*/ 902717 h 2827"/>
                <a:gd name="T4" fmla="*/ 936339 w 2973"/>
                <a:gd name="T5" fmla="*/ 1805433 h 2827"/>
                <a:gd name="T6" fmla="*/ 0 w 2973"/>
                <a:gd name="T7" fmla="*/ 902717 h 2827"/>
                <a:gd name="T8" fmla="*/ 17694720 60000 65536"/>
                <a:gd name="T9" fmla="*/ 0 60000 65536"/>
                <a:gd name="T10" fmla="*/ 5898240 60000 65536"/>
                <a:gd name="T11" fmla="*/ 11796480 60000 65536"/>
                <a:gd name="T12" fmla="*/ 0 w 2973"/>
                <a:gd name="T13" fmla="*/ 0 h 2827"/>
                <a:gd name="T14" fmla="*/ 2973 w 2973"/>
                <a:gd name="T15" fmla="*/ 2827 h 2827"/>
              </a:gdLst>
              <a:ahLst/>
              <a:cxnLst>
                <a:cxn ang="T8">
                  <a:pos x="T0" y="T1"/>
                </a:cxn>
                <a:cxn ang="T9">
                  <a:pos x="T2" y="T3"/>
                </a:cxn>
                <a:cxn ang="T10">
                  <a:pos x="T4" y="T5"/>
                </a:cxn>
                <a:cxn ang="T11">
                  <a:pos x="T6" y="T7"/>
                </a:cxn>
              </a:cxnLst>
              <a:rect l="T12" t="T13" r="T14" b="T15"/>
              <a:pathLst>
                <a:path w="2973" h="2827" fill="none">
                  <a:moveTo>
                    <a:pt x="1" y="1194"/>
                  </a:moveTo>
                  <a:lnTo>
                    <a:pt x="1" y="1194"/>
                  </a:lnTo>
                  <a:lnTo>
                    <a:pt x="123" y="1365"/>
                  </a:lnTo>
                  <a:lnTo>
                    <a:pt x="1316" y="2534"/>
                  </a:lnTo>
                  <a:lnTo>
                    <a:pt x="1462" y="2656"/>
                  </a:lnTo>
                  <a:lnTo>
                    <a:pt x="1633" y="2753"/>
                  </a:lnTo>
                  <a:lnTo>
                    <a:pt x="1827" y="2802"/>
                  </a:lnTo>
                  <a:lnTo>
                    <a:pt x="1998" y="2826"/>
                  </a:lnTo>
                  <a:lnTo>
                    <a:pt x="2193" y="2802"/>
                  </a:lnTo>
                  <a:lnTo>
                    <a:pt x="2363" y="2753"/>
                  </a:lnTo>
                  <a:lnTo>
                    <a:pt x="2534" y="2656"/>
                  </a:lnTo>
                  <a:lnTo>
                    <a:pt x="2704" y="2534"/>
                  </a:lnTo>
                  <a:lnTo>
                    <a:pt x="2826" y="2388"/>
                  </a:lnTo>
                  <a:lnTo>
                    <a:pt x="2923" y="2217"/>
                  </a:lnTo>
                  <a:lnTo>
                    <a:pt x="2972" y="2047"/>
                  </a:lnTo>
                  <a:lnTo>
                    <a:pt x="2972" y="1852"/>
                  </a:lnTo>
                  <a:lnTo>
                    <a:pt x="2972" y="1657"/>
                  </a:lnTo>
                  <a:lnTo>
                    <a:pt x="2923" y="1487"/>
                  </a:lnTo>
                  <a:lnTo>
                    <a:pt x="2826" y="1316"/>
                  </a:lnTo>
                  <a:lnTo>
                    <a:pt x="2704" y="1170"/>
                  </a:lnTo>
                  <a:lnTo>
                    <a:pt x="1535" y="1"/>
                  </a:lnTo>
                </a:path>
              </a:pathLst>
            </a:custGeom>
            <a:noFill/>
            <a:ln w="12170" cap="rnd">
              <a:solidFill>
                <a:srgbClr val="F2F2F2"/>
              </a:solidFill>
              <a:prstDash val="solid"/>
              <a:round/>
              <a:headEnd/>
              <a:tailEnd/>
            </a:ln>
            <a:extLst>
              <a:ext uri="{909E8E84-426E-40DD-AFC4-6F175D3DCCD1}">
                <a14:hiddenFill xmlns:a14="http://schemas.microsoft.com/office/drawing/2010/main">
                  <a:solidFill>
                    <a:srgbClr val="FFFFFF"/>
                  </a:solidFill>
                </a14:hiddenFill>
              </a:ext>
            </a:extLst>
          </p:spPr>
          <p:txBody>
            <a:bodyPr lIns="121898" tIns="121898" rIns="121898" bIns="121898" anchor="ctr"/>
            <a:lstStyle/>
            <a:p>
              <a:endParaRPr lang="it-IT"/>
            </a:p>
          </p:txBody>
        </p:sp>
        <p:sp>
          <p:nvSpPr>
            <p:cNvPr id="134191" name="Shape 638">
              <a:extLst>
                <a:ext uri="{FF2B5EF4-FFF2-40B4-BE49-F238E27FC236}">
                  <a16:creationId xmlns:a16="http://schemas.microsoft.com/office/drawing/2014/main" id="{B3CFAF5B-9166-324E-B6FE-1F7A2CB7BA79}"/>
                </a:ext>
              </a:extLst>
            </p:cNvPr>
            <p:cNvSpPr>
              <a:spLocks/>
            </p:cNvSpPr>
            <p:nvPr/>
          </p:nvSpPr>
          <p:spPr bwMode="auto">
            <a:xfrm>
              <a:off x="5691189" y="1339852"/>
              <a:ext cx="254002" cy="257175"/>
            </a:xfrm>
            <a:custGeom>
              <a:avLst/>
              <a:gdLst>
                <a:gd name="T0" fmla="*/ 3214600 w 10035"/>
                <a:gd name="T1" fmla="*/ 0 h 10206"/>
                <a:gd name="T2" fmla="*/ 6429199 w 10035"/>
                <a:gd name="T3" fmla="*/ 3240213 h 10206"/>
                <a:gd name="T4" fmla="*/ 3214600 w 10035"/>
                <a:gd name="T5" fmla="*/ 6480402 h 10206"/>
                <a:gd name="T6" fmla="*/ 0 w 10035"/>
                <a:gd name="T7" fmla="*/ 3240213 h 10206"/>
                <a:gd name="T8" fmla="*/ 17694720 60000 65536"/>
                <a:gd name="T9" fmla="*/ 0 60000 65536"/>
                <a:gd name="T10" fmla="*/ 5898240 60000 65536"/>
                <a:gd name="T11" fmla="*/ 11796480 60000 65536"/>
                <a:gd name="T12" fmla="*/ 0 w 10035"/>
                <a:gd name="T13" fmla="*/ 0 h 10206"/>
                <a:gd name="T14" fmla="*/ 10035 w 10035"/>
                <a:gd name="T15" fmla="*/ 10206 h 10206"/>
              </a:gdLst>
              <a:ahLst/>
              <a:cxnLst>
                <a:cxn ang="T8">
                  <a:pos x="T0" y="T1"/>
                </a:cxn>
                <a:cxn ang="T9">
                  <a:pos x="T2" y="T3"/>
                </a:cxn>
                <a:cxn ang="T10">
                  <a:pos x="T4" y="T5"/>
                </a:cxn>
                <a:cxn ang="T11">
                  <a:pos x="T6" y="T7"/>
                </a:cxn>
              </a:cxnLst>
              <a:rect l="T12" t="T13" r="T14" b="T15"/>
              <a:pathLst>
                <a:path w="10035" h="10206" fill="none">
                  <a:moveTo>
                    <a:pt x="9718" y="2412"/>
                  </a:moveTo>
                  <a:lnTo>
                    <a:pt x="8671" y="2217"/>
                  </a:lnTo>
                  <a:lnTo>
                    <a:pt x="9694" y="1194"/>
                  </a:lnTo>
                  <a:lnTo>
                    <a:pt x="9767" y="1121"/>
                  </a:lnTo>
                  <a:lnTo>
                    <a:pt x="9815" y="1024"/>
                  </a:lnTo>
                  <a:lnTo>
                    <a:pt x="9840" y="951"/>
                  </a:lnTo>
                  <a:lnTo>
                    <a:pt x="9840" y="853"/>
                  </a:lnTo>
                  <a:lnTo>
                    <a:pt x="9840" y="756"/>
                  </a:lnTo>
                  <a:lnTo>
                    <a:pt x="9815" y="658"/>
                  </a:lnTo>
                  <a:lnTo>
                    <a:pt x="9767" y="585"/>
                  </a:lnTo>
                  <a:lnTo>
                    <a:pt x="9694" y="512"/>
                  </a:lnTo>
                  <a:lnTo>
                    <a:pt x="9621" y="439"/>
                  </a:lnTo>
                  <a:lnTo>
                    <a:pt x="9548" y="391"/>
                  </a:lnTo>
                  <a:lnTo>
                    <a:pt x="9450" y="366"/>
                  </a:lnTo>
                  <a:lnTo>
                    <a:pt x="9353" y="366"/>
                  </a:lnTo>
                  <a:lnTo>
                    <a:pt x="9255" y="366"/>
                  </a:lnTo>
                  <a:lnTo>
                    <a:pt x="9182" y="391"/>
                  </a:lnTo>
                  <a:lnTo>
                    <a:pt x="9085" y="439"/>
                  </a:lnTo>
                  <a:lnTo>
                    <a:pt x="9012" y="512"/>
                  </a:lnTo>
                  <a:lnTo>
                    <a:pt x="7867" y="1657"/>
                  </a:lnTo>
                  <a:lnTo>
                    <a:pt x="7818" y="1487"/>
                  </a:lnTo>
                  <a:lnTo>
                    <a:pt x="7599" y="317"/>
                  </a:lnTo>
                  <a:lnTo>
                    <a:pt x="7575" y="196"/>
                  </a:lnTo>
                  <a:lnTo>
                    <a:pt x="7526" y="98"/>
                  </a:lnTo>
                  <a:lnTo>
                    <a:pt x="7477" y="50"/>
                  </a:lnTo>
                  <a:lnTo>
                    <a:pt x="7404" y="1"/>
                  </a:lnTo>
                  <a:lnTo>
                    <a:pt x="7331" y="1"/>
                  </a:lnTo>
                  <a:lnTo>
                    <a:pt x="7234" y="25"/>
                  </a:lnTo>
                  <a:lnTo>
                    <a:pt x="7161" y="74"/>
                  </a:lnTo>
                  <a:lnTo>
                    <a:pt x="7063" y="147"/>
                  </a:lnTo>
                  <a:lnTo>
                    <a:pt x="5432" y="1754"/>
                  </a:lnTo>
                  <a:lnTo>
                    <a:pt x="5358" y="1852"/>
                  </a:lnTo>
                  <a:lnTo>
                    <a:pt x="5285" y="1974"/>
                  </a:lnTo>
                  <a:lnTo>
                    <a:pt x="5212" y="2120"/>
                  </a:lnTo>
                  <a:lnTo>
                    <a:pt x="5164" y="2242"/>
                  </a:lnTo>
                  <a:lnTo>
                    <a:pt x="5139" y="2388"/>
                  </a:lnTo>
                  <a:lnTo>
                    <a:pt x="5115" y="2534"/>
                  </a:lnTo>
                  <a:lnTo>
                    <a:pt x="5115" y="2680"/>
                  </a:lnTo>
                  <a:lnTo>
                    <a:pt x="5115" y="2802"/>
                  </a:lnTo>
                  <a:lnTo>
                    <a:pt x="5334" y="3971"/>
                  </a:lnTo>
                  <a:lnTo>
                    <a:pt x="5383" y="4141"/>
                  </a:lnTo>
                  <a:lnTo>
                    <a:pt x="147" y="9378"/>
                  </a:lnTo>
                  <a:lnTo>
                    <a:pt x="73" y="9451"/>
                  </a:lnTo>
                  <a:lnTo>
                    <a:pt x="25" y="9548"/>
                  </a:lnTo>
                  <a:lnTo>
                    <a:pt x="0" y="9645"/>
                  </a:lnTo>
                  <a:lnTo>
                    <a:pt x="0" y="9718"/>
                  </a:lnTo>
                  <a:lnTo>
                    <a:pt x="0" y="9816"/>
                  </a:lnTo>
                  <a:lnTo>
                    <a:pt x="25" y="9913"/>
                  </a:lnTo>
                  <a:lnTo>
                    <a:pt x="73" y="9986"/>
                  </a:lnTo>
                  <a:lnTo>
                    <a:pt x="147" y="10059"/>
                  </a:lnTo>
                  <a:lnTo>
                    <a:pt x="220" y="10133"/>
                  </a:lnTo>
                  <a:lnTo>
                    <a:pt x="293" y="10181"/>
                  </a:lnTo>
                  <a:lnTo>
                    <a:pt x="390" y="10206"/>
                  </a:lnTo>
                  <a:lnTo>
                    <a:pt x="488" y="10206"/>
                  </a:lnTo>
                  <a:lnTo>
                    <a:pt x="585" y="10206"/>
                  </a:lnTo>
                  <a:lnTo>
                    <a:pt x="658" y="10181"/>
                  </a:lnTo>
                  <a:lnTo>
                    <a:pt x="755" y="10133"/>
                  </a:lnTo>
                  <a:lnTo>
                    <a:pt x="828" y="10059"/>
                  </a:lnTo>
                  <a:lnTo>
                    <a:pt x="6187" y="4726"/>
                  </a:lnTo>
                  <a:lnTo>
                    <a:pt x="7234" y="4896"/>
                  </a:lnTo>
                  <a:lnTo>
                    <a:pt x="7356" y="4921"/>
                  </a:lnTo>
                  <a:lnTo>
                    <a:pt x="7502" y="4921"/>
                  </a:lnTo>
                  <a:lnTo>
                    <a:pt x="7624" y="4896"/>
                  </a:lnTo>
                  <a:lnTo>
                    <a:pt x="7770" y="4848"/>
                  </a:lnTo>
                  <a:lnTo>
                    <a:pt x="7916" y="4799"/>
                  </a:lnTo>
                  <a:lnTo>
                    <a:pt x="8038" y="4750"/>
                  </a:lnTo>
                  <a:lnTo>
                    <a:pt x="8159" y="4677"/>
                  </a:lnTo>
                  <a:lnTo>
                    <a:pt x="8257" y="4580"/>
                  </a:lnTo>
                  <a:lnTo>
                    <a:pt x="9889" y="2948"/>
                  </a:lnTo>
                  <a:lnTo>
                    <a:pt x="9962" y="2875"/>
                  </a:lnTo>
                  <a:lnTo>
                    <a:pt x="10010" y="2777"/>
                  </a:lnTo>
                  <a:lnTo>
                    <a:pt x="10035" y="2704"/>
                  </a:lnTo>
                  <a:lnTo>
                    <a:pt x="10010" y="2607"/>
                  </a:lnTo>
                  <a:lnTo>
                    <a:pt x="9986" y="2558"/>
                  </a:lnTo>
                  <a:lnTo>
                    <a:pt x="9913" y="2485"/>
                  </a:lnTo>
                  <a:lnTo>
                    <a:pt x="9815" y="2436"/>
                  </a:lnTo>
                  <a:lnTo>
                    <a:pt x="9718" y="2412"/>
                  </a:lnTo>
                  <a:close/>
                </a:path>
              </a:pathLst>
            </a:custGeom>
            <a:noFill/>
            <a:ln w="12170" cap="rnd">
              <a:solidFill>
                <a:srgbClr val="F2F2F2"/>
              </a:solidFill>
              <a:prstDash val="solid"/>
              <a:round/>
              <a:headEnd/>
              <a:tailEnd/>
            </a:ln>
            <a:extLst>
              <a:ext uri="{909E8E84-426E-40DD-AFC4-6F175D3DCCD1}">
                <a14:hiddenFill xmlns:a14="http://schemas.microsoft.com/office/drawing/2010/main">
                  <a:solidFill>
                    <a:srgbClr val="FFFFFF"/>
                  </a:solidFill>
                </a14:hiddenFill>
              </a:ext>
            </a:extLst>
          </p:spPr>
          <p:txBody>
            <a:bodyPr lIns="121898" tIns="121898" rIns="121898" bIns="121898" anchor="ctr"/>
            <a:lstStyle/>
            <a:p>
              <a:endParaRPr lang="it-IT"/>
            </a:p>
          </p:txBody>
        </p:sp>
      </p:grpSp>
      <p:grpSp>
        <p:nvGrpSpPr>
          <p:cNvPr id="134150" name="Gruppo 54">
            <a:extLst>
              <a:ext uri="{FF2B5EF4-FFF2-40B4-BE49-F238E27FC236}">
                <a16:creationId xmlns:a16="http://schemas.microsoft.com/office/drawing/2014/main" id="{3496E224-D2C0-AA4F-A72E-AD60FB26944D}"/>
              </a:ext>
            </a:extLst>
          </p:cNvPr>
          <p:cNvGrpSpPr>
            <a:grpSpLocks/>
          </p:cNvGrpSpPr>
          <p:nvPr/>
        </p:nvGrpSpPr>
        <p:grpSpPr bwMode="auto">
          <a:xfrm>
            <a:off x="2473527" y="3576211"/>
            <a:ext cx="1849437" cy="1891471"/>
            <a:chOff x="877888" y="3530598"/>
            <a:chExt cx="1849427" cy="1891469"/>
          </a:xfrm>
        </p:grpSpPr>
        <p:sp>
          <p:nvSpPr>
            <p:cNvPr id="134183" name="CasellaDiTesto 46">
              <a:extLst>
                <a:ext uri="{FF2B5EF4-FFF2-40B4-BE49-F238E27FC236}">
                  <a16:creationId xmlns:a16="http://schemas.microsoft.com/office/drawing/2014/main" id="{6FF561A7-A22C-2446-8125-34A6E0F15CC5}"/>
                </a:ext>
              </a:extLst>
            </p:cNvPr>
            <p:cNvSpPr txBox="1">
              <a:spLocks noChangeArrowheads="1"/>
            </p:cNvSpPr>
            <p:nvPr/>
          </p:nvSpPr>
          <p:spPr bwMode="auto">
            <a:xfrm>
              <a:off x="892170" y="4221739"/>
              <a:ext cx="1835145" cy="1200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a:r>
                <a:rPr lang="it-IT" altLang="it-IT" sz="1200" dirty="0">
                  <a:solidFill>
                    <a:srgbClr val="000000"/>
                  </a:solidFill>
                  <a:latin typeface="+mn-lt"/>
                  <a:ea typeface="ＭＳ Ｐゴシック" panose="020B0600070205080204" pitchFamily="34" charset="-128"/>
                  <a:cs typeface="Calibri" panose="020F0502020204030204" pitchFamily="34" charset="0"/>
                </a:rPr>
                <a:t>Equilibrio tra Appropriatezza Prescrittiva e Sostenibilità economica nell’uso dei farmaci</a:t>
              </a:r>
            </a:p>
          </p:txBody>
        </p:sp>
        <p:sp>
          <p:nvSpPr>
            <p:cNvPr id="134184" name="CasellaDiTesto 55">
              <a:extLst>
                <a:ext uri="{FF2B5EF4-FFF2-40B4-BE49-F238E27FC236}">
                  <a16:creationId xmlns:a16="http://schemas.microsoft.com/office/drawing/2014/main" id="{EB7C08BE-BAEC-F145-85FC-C1A357EBEC84}"/>
                </a:ext>
              </a:extLst>
            </p:cNvPr>
            <p:cNvSpPr txBox="1">
              <a:spLocks noChangeArrowheads="1"/>
            </p:cNvSpPr>
            <p:nvPr/>
          </p:nvSpPr>
          <p:spPr bwMode="auto">
            <a:xfrm>
              <a:off x="877888" y="3530598"/>
              <a:ext cx="1835145" cy="646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a:r>
                <a:rPr lang="it-IT" altLang="it-IT" sz="1200" b="1">
                  <a:solidFill>
                    <a:srgbClr val="92D050"/>
                  </a:solidFill>
                  <a:latin typeface="+mn-lt"/>
                  <a:ea typeface="ＭＳ Ｐゴシック" panose="020B0600070205080204" pitchFamily="34" charset="-128"/>
                  <a:cs typeface="Calibri" panose="020F0502020204030204" pitchFamily="34" charset="0"/>
                </a:rPr>
                <a:t>Indicatori di Appropriatezza e Aderenza</a:t>
              </a:r>
            </a:p>
          </p:txBody>
        </p:sp>
      </p:grpSp>
      <p:cxnSp>
        <p:nvCxnSpPr>
          <p:cNvPr id="134151" name="Connettore diritto 56">
            <a:extLst>
              <a:ext uri="{FF2B5EF4-FFF2-40B4-BE49-F238E27FC236}">
                <a16:creationId xmlns:a16="http://schemas.microsoft.com/office/drawing/2014/main" id="{D85FD890-29AB-1544-8B47-EA51D4B6C590}"/>
              </a:ext>
            </a:extLst>
          </p:cNvPr>
          <p:cNvCxnSpPr>
            <a:cxnSpLocks noChangeShapeType="1"/>
            <a:stCxn id="134167" idx="1"/>
          </p:cNvCxnSpPr>
          <p:nvPr/>
        </p:nvCxnSpPr>
        <p:spPr bwMode="auto">
          <a:xfrm flipV="1">
            <a:off x="4394201" y="3871913"/>
            <a:ext cx="1008063" cy="0"/>
          </a:xfrm>
          <a:prstGeom prst="straightConnector1">
            <a:avLst/>
          </a:prstGeom>
          <a:noFill/>
          <a:ln w="9528">
            <a:solidFill>
              <a:srgbClr val="92D050"/>
            </a:solidFill>
            <a:miter lim="800000"/>
            <a:headEnd/>
            <a:tailEnd type="arrow" w="med" len="med"/>
          </a:ln>
          <a:extLst>
            <a:ext uri="{909E8E84-426E-40DD-AFC4-6F175D3DCCD1}">
              <a14:hiddenFill xmlns:a14="http://schemas.microsoft.com/office/drawing/2010/main">
                <a:noFill/>
              </a14:hiddenFill>
            </a:ext>
          </a:extLst>
        </p:spPr>
      </p:cxnSp>
      <p:grpSp>
        <p:nvGrpSpPr>
          <p:cNvPr id="134152" name="Gruppo 58">
            <a:extLst>
              <a:ext uri="{FF2B5EF4-FFF2-40B4-BE49-F238E27FC236}">
                <a16:creationId xmlns:a16="http://schemas.microsoft.com/office/drawing/2014/main" id="{096A770B-4448-6E40-9205-4D898EAD95BC}"/>
              </a:ext>
            </a:extLst>
          </p:cNvPr>
          <p:cNvGrpSpPr>
            <a:grpSpLocks/>
          </p:cNvGrpSpPr>
          <p:nvPr/>
        </p:nvGrpSpPr>
        <p:grpSpPr bwMode="auto">
          <a:xfrm>
            <a:off x="2359822" y="1390318"/>
            <a:ext cx="1749425" cy="1838091"/>
            <a:chOff x="584201" y="1746247"/>
            <a:chExt cx="1749420" cy="1838094"/>
          </a:xfrm>
        </p:grpSpPr>
        <p:sp>
          <p:nvSpPr>
            <p:cNvPr id="134181" name="CasellaDiTesto 45">
              <a:extLst>
                <a:ext uri="{FF2B5EF4-FFF2-40B4-BE49-F238E27FC236}">
                  <a16:creationId xmlns:a16="http://schemas.microsoft.com/office/drawing/2014/main" id="{DCD2553C-54FA-F147-99ED-C7C56E78BCBA}"/>
                </a:ext>
              </a:extLst>
            </p:cNvPr>
            <p:cNvSpPr txBox="1">
              <a:spLocks noChangeArrowheads="1"/>
            </p:cNvSpPr>
            <p:nvPr/>
          </p:nvSpPr>
          <p:spPr bwMode="auto">
            <a:xfrm>
              <a:off x="999027" y="1746247"/>
              <a:ext cx="105028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a:r>
                <a:rPr lang="it-IT" altLang="it-IT" sz="1200" b="1" dirty="0">
                  <a:solidFill>
                    <a:srgbClr val="0070C0"/>
                  </a:solidFill>
                  <a:latin typeface="+mn-lt"/>
                  <a:ea typeface="ＭＳ Ｐゴシック" panose="020B0600070205080204" pitchFamily="34" charset="-128"/>
                  <a:cs typeface="Calibri" panose="020F0502020204030204" pitchFamily="34" charset="0"/>
                </a:rPr>
                <a:t>Pro - capite</a:t>
              </a:r>
            </a:p>
          </p:txBody>
        </p:sp>
        <p:sp>
          <p:nvSpPr>
            <p:cNvPr id="134182" name="Rettangolo 59">
              <a:extLst>
                <a:ext uri="{FF2B5EF4-FFF2-40B4-BE49-F238E27FC236}">
                  <a16:creationId xmlns:a16="http://schemas.microsoft.com/office/drawing/2014/main" id="{04EA201B-2EEE-B34B-BB39-5E8051D3D179}"/>
                </a:ext>
              </a:extLst>
            </p:cNvPr>
            <p:cNvSpPr>
              <a:spLocks noChangeArrowheads="1"/>
            </p:cNvSpPr>
            <p:nvPr/>
          </p:nvSpPr>
          <p:spPr bwMode="auto">
            <a:xfrm>
              <a:off x="584201" y="2014679"/>
              <a:ext cx="1749420" cy="1569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a:r>
                <a:rPr lang="it-IT" altLang="it-IT" sz="1200" dirty="0">
                  <a:solidFill>
                    <a:srgbClr val="000000"/>
                  </a:solidFill>
                  <a:latin typeface="+mn-lt"/>
                  <a:ea typeface="ＭＳ Ｐゴシック" panose="020B0600070205080204" pitchFamily="34" charset="-128"/>
                  <a:cs typeface="Calibri" panose="020F0502020204030204" pitchFamily="34" charset="0"/>
                </a:rPr>
                <a:t>Analisi dei decreti regionali ed identificazione degli obiettivi per correlazione con soluzioni  da applicare sul territorio</a:t>
              </a:r>
            </a:p>
          </p:txBody>
        </p:sp>
      </p:grpSp>
      <p:cxnSp>
        <p:nvCxnSpPr>
          <p:cNvPr id="134153" name="Connettore a gomito 66">
            <a:extLst>
              <a:ext uri="{FF2B5EF4-FFF2-40B4-BE49-F238E27FC236}">
                <a16:creationId xmlns:a16="http://schemas.microsoft.com/office/drawing/2014/main" id="{9C13CCA1-7123-1C46-99D3-0EBF190BA808}"/>
              </a:ext>
            </a:extLst>
          </p:cNvPr>
          <p:cNvCxnSpPr>
            <a:cxnSpLocks noChangeShapeType="1"/>
            <a:stCxn id="134173" idx="1"/>
          </p:cNvCxnSpPr>
          <p:nvPr/>
        </p:nvCxnSpPr>
        <p:spPr bwMode="auto">
          <a:xfrm>
            <a:off x="4398963" y="2435225"/>
            <a:ext cx="684212" cy="895350"/>
          </a:xfrm>
          <a:prstGeom prst="bentConnector2">
            <a:avLst/>
          </a:prstGeom>
          <a:noFill/>
          <a:ln w="9528">
            <a:solidFill>
              <a:srgbClr val="0070C0"/>
            </a:solidFill>
            <a:miter lim="800000"/>
            <a:headEnd/>
            <a:tailEnd type="arrow" w="med" len="med"/>
          </a:ln>
          <a:extLst>
            <a:ext uri="{909E8E84-426E-40DD-AFC4-6F175D3DCCD1}">
              <a14:hiddenFill xmlns:a14="http://schemas.microsoft.com/office/drawing/2010/main">
                <a:noFill/>
              </a14:hiddenFill>
            </a:ext>
          </a:extLst>
        </p:spPr>
      </p:cxnSp>
      <p:grpSp>
        <p:nvGrpSpPr>
          <p:cNvPr id="134154" name="Gruppo 62">
            <a:extLst>
              <a:ext uri="{FF2B5EF4-FFF2-40B4-BE49-F238E27FC236}">
                <a16:creationId xmlns:a16="http://schemas.microsoft.com/office/drawing/2014/main" id="{3A8B76C0-57A5-F346-9868-A8495D0B827E}"/>
              </a:ext>
            </a:extLst>
          </p:cNvPr>
          <p:cNvGrpSpPr>
            <a:grpSpLocks/>
          </p:cNvGrpSpPr>
          <p:nvPr/>
        </p:nvGrpSpPr>
        <p:grpSpPr bwMode="auto">
          <a:xfrm>
            <a:off x="7999314" y="3744321"/>
            <a:ext cx="1935162" cy="1470025"/>
            <a:chOff x="6808786" y="3241676"/>
            <a:chExt cx="1935163" cy="1470025"/>
          </a:xfrm>
        </p:grpSpPr>
        <p:sp>
          <p:nvSpPr>
            <p:cNvPr id="134179" name="CasellaDiTesto 75">
              <a:extLst>
                <a:ext uri="{FF2B5EF4-FFF2-40B4-BE49-F238E27FC236}">
                  <a16:creationId xmlns:a16="http://schemas.microsoft.com/office/drawing/2014/main" id="{3A282027-A360-1247-A926-CAD87A8ACE98}"/>
                </a:ext>
              </a:extLst>
            </p:cNvPr>
            <p:cNvSpPr txBox="1">
              <a:spLocks noChangeArrowheads="1"/>
            </p:cNvSpPr>
            <p:nvPr/>
          </p:nvSpPr>
          <p:spPr bwMode="auto">
            <a:xfrm>
              <a:off x="6907213" y="3510701"/>
              <a:ext cx="1836736" cy="120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r" eaLnBrk="1"/>
              <a:r>
                <a:rPr lang="it-IT" altLang="it-IT" sz="1200" dirty="0">
                  <a:solidFill>
                    <a:srgbClr val="000000"/>
                  </a:solidFill>
                  <a:latin typeface="+mn-lt"/>
                  <a:ea typeface="ＭＳ Ｐゴシック" panose="020B0600070205080204" pitchFamily="34" charset="-128"/>
                  <a:cs typeface="Calibri" panose="020F0502020204030204" pitchFamily="34" charset="0"/>
                </a:rPr>
                <a:t>Legittimazione del Modello (Delibera/Decreto)</a:t>
              </a:r>
            </a:p>
            <a:p>
              <a:pPr algn="r" eaLnBrk="1"/>
              <a:r>
                <a:rPr lang="it-IT" altLang="it-IT" sz="1200" dirty="0">
                  <a:solidFill>
                    <a:srgbClr val="000000"/>
                  </a:solidFill>
                  <a:latin typeface="+mn-lt"/>
                  <a:ea typeface="ＭＳ Ｐゴシック" panose="020B0600070205080204" pitchFamily="34" charset="-128"/>
                  <a:cs typeface="Calibri" panose="020F0502020204030204" pitchFamily="34" charset="0"/>
                </a:rPr>
                <a:t>Inserimento indicatori di monitoraggio in piani aziendali</a:t>
              </a:r>
            </a:p>
          </p:txBody>
        </p:sp>
        <p:sp>
          <p:nvSpPr>
            <p:cNvPr id="134180" name="CasellaDiTesto 76">
              <a:extLst>
                <a:ext uri="{FF2B5EF4-FFF2-40B4-BE49-F238E27FC236}">
                  <a16:creationId xmlns:a16="http://schemas.microsoft.com/office/drawing/2014/main" id="{249DD747-6B4A-C342-875F-8851A85241F3}"/>
                </a:ext>
              </a:extLst>
            </p:cNvPr>
            <p:cNvSpPr txBox="1">
              <a:spLocks noChangeArrowheads="1"/>
            </p:cNvSpPr>
            <p:nvPr/>
          </p:nvSpPr>
          <p:spPr bwMode="auto">
            <a:xfrm>
              <a:off x="6808786" y="3241676"/>
              <a:ext cx="1836736" cy="277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r" eaLnBrk="1"/>
              <a:r>
                <a:rPr lang="it-IT" altLang="it-IT" sz="1200" b="1">
                  <a:solidFill>
                    <a:srgbClr val="A8291C"/>
                  </a:solidFill>
                  <a:latin typeface="+mn-lt"/>
                  <a:ea typeface="ＭＳ Ｐゴシック" panose="020B0600070205080204" pitchFamily="34" charset="-128"/>
                  <a:cs typeface="Calibri" panose="020F0502020204030204" pitchFamily="34" charset="0"/>
                </a:rPr>
                <a:t>Legittimazione</a:t>
              </a:r>
            </a:p>
          </p:txBody>
        </p:sp>
      </p:grpSp>
      <p:cxnSp>
        <p:nvCxnSpPr>
          <p:cNvPr id="134155" name="Connettore diritto 77">
            <a:extLst>
              <a:ext uri="{FF2B5EF4-FFF2-40B4-BE49-F238E27FC236}">
                <a16:creationId xmlns:a16="http://schemas.microsoft.com/office/drawing/2014/main" id="{3E57DEA8-9DDA-5D4F-9ECE-F6FAC73E6E83}"/>
              </a:ext>
            </a:extLst>
          </p:cNvPr>
          <p:cNvCxnSpPr>
            <a:cxnSpLocks noChangeShapeType="1"/>
            <a:stCxn id="134175" idx="0"/>
          </p:cNvCxnSpPr>
          <p:nvPr/>
        </p:nvCxnSpPr>
        <p:spPr bwMode="auto">
          <a:xfrm flipH="1" flipV="1">
            <a:off x="6175375" y="4195763"/>
            <a:ext cx="1588" cy="487362"/>
          </a:xfrm>
          <a:prstGeom prst="straightConnector1">
            <a:avLst/>
          </a:prstGeom>
          <a:noFill/>
          <a:ln w="9528">
            <a:solidFill>
              <a:srgbClr val="3F414A"/>
            </a:solidFill>
            <a:miter lim="800000"/>
            <a:headEnd/>
            <a:tailEnd type="arrow" w="med" len="med"/>
          </a:ln>
          <a:extLst>
            <a:ext uri="{909E8E84-426E-40DD-AFC4-6F175D3DCCD1}">
              <a14:hiddenFill xmlns:a14="http://schemas.microsoft.com/office/drawing/2010/main">
                <a:noFill/>
              </a14:hiddenFill>
            </a:ext>
          </a:extLst>
        </p:spPr>
      </p:cxnSp>
      <p:grpSp>
        <p:nvGrpSpPr>
          <p:cNvPr id="134156" name="Gruppo 66">
            <a:extLst>
              <a:ext uri="{FF2B5EF4-FFF2-40B4-BE49-F238E27FC236}">
                <a16:creationId xmlns:a16="http://schemas.microsoft.com/office/drawing/2014/main" id="{8A1BB62F-F6B3-7C41-A787-CFA7C76E09A8}"/>
              </a:ext>
            </a:extLst>
          </p:cNvPr>
          <p:cNvGrpSpPr>
            <a:grpSpLocks/>
          </p:cNvGrpSpPr>
          <p:nvPr/>
        </p:nvGrpSpPr>
        <p:grpSpPr bwMode="auto">
          <a:xfrm>
            <a:off x="4904729" y="5214346"/>
            <a:ext cx="1916113" cy="1112476"/>
            <a:chOff x="4810128" y="4521195"/>
            <a:chExt cx="1916116" cy="1112481"/>
          </a:xfrm>
        </p:grpSpPr>
        <p:sp>
          <p:nvSpPr>
            <p:cNvPr id="134177" name="CasellaDiTesto 72">
              <a:extLst>
                <a:ext uri="{FF2B5EF4-FFF2-40B4-BE49-F238E27FC236}">
                  <a16:creationId xmlns:a16="http://schemas.microsoft.com/office/drawing/2014/main" id="{B73AB754-5D64-D34A-AD9F-527D8836DD5B}"/>
                </a:ext>
              </a:extLst>
            </p:cNvPr>
            <p:cNvSpPr txBox="1">
              <a:spLocks noChangeArrowheads="1"/>
            </p:cNvSpPr>
            <p:nvPr/>
          </p:nvSpPr>
          <p:spPr bwMode="auto">
            <a:xfrm>
              <a:off x="4810128" y="4521195"/>
              <a:ext cx="1835155" cy="277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r" eaLnBrk="1"/>
              <a:r>
                <a:rPr lang="it-IT" altLang="it-IT" sz="1200" b="1">
                  <a:solidFill>
                    <a:srgbClr val="7030A0"/>
                  </a:solidFill>
                  <a:latin typeface="+mn-lt"/>
                  <a:ea typeface="ＭＳ Ｐゴシック" panose="020B0600070205080204" pitchFamily="34" charset="-128"/>
                  <a:cs typeface="Calibri" panose="020F0502020204030204" pitchFamily="34" charset="0"/>
                </a:rPr>
                <a:t>Concertazione</a:t>
              </a:r>
            </a:p>
          </p:txBody>
        </p:sp>
        <p:sp>
          <p:nvSpPr>
            <p:cNvPr id="134178" name="CasellaDiTesto 81">
              <a:extLst>
                <a:ext uri="{FF2B5EF4-FFF2-40B4-BE49-F238E27FC236}">
                  <a16:creationId xmlns:a16="http://schemas.microsoft.com/office/drawing/2014/main" id="{07C87BF2-46CC-B144-9D8C-159B6F4916E0}"/>
                </a:ext>
              </a:extLst>
            </p:cNvPr>
            <p:cNvSpPr txBox="1">
              <a:spLocks noChangeArrowheads="1"/>
            </p:cNvSpPr>
            <p:nvPr/>
          </p:nvSpPr>
          <p:spPr bwMode="auto">
            <a:xfrm>
              <a:off x="4891089" y="4802675"/>
              <a:ext cx="1835155" cy="831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r" eaLnBrk="1"/>
              <a:r>
                <a:rPr lang="it-IT" altLang="it-IT" sz="1200" dirty="0">
                  <a:solidFill>
                    <a:srgbClr val="000000"/>
                  </a:solidFill>
                  <a:latin typeface="+mn-lt"/>
                  <a:ea typeface="ＭＳ Ｐゴシック" panose="020B0600070205080204" pitchFamily="34" charset="-128"/>
                  <a:cs typeface="Calibri" panose="020F0502020204030204" pitchFamily="34" charset="0"/>
                </a:rPr>
                <a:t>Gruppi di Lavoro per la definizione degli strumenti e modalità di applicazione.</a:t>
              </a:r>
            </a:p>
          </p:txBody>
        </p:sp>
      </p:grpSp>
      <p:cxnSp>
        <p:nvCxnSpPr>
          <p:cNvPr id="134157" name="Connettore diritto 84">
            <a:extLst>
              <a:ext uri="{FF2B5EF4-FFF2-40B4-BE49-F238E27FC236}">
                <a16:creationId xmlns:a16="http://schemas.microsoft.com/office/drawing/2014/main" id="{BB388A93-8EE0-C643-BF3E-A18E17BB20B2}"/>
              </a:ext>
            </a:extLst>
          </p:cNvPr>
          <p:cNvCxnSpPr>
            <a:cxnSpLocks noChangeShapeType="1"/>
            <a:stCxn id="134171" idx="3"/>
          </p:cNvCxnSpPr>
          <p:nvPr/>
        </p:nvCxnSpPr>
        <p:spPr bwMode="auto">
          <a:xfrm flipH="1" flipV="1">
            <a:off x="7011988" y="3871913"/>
            <a:ext cx="963612" cy="0"/>
          </a:xfrm>
          <a:prstGeom prst="straightConnector1">
            <a:avLst/>
          </a:prstGeom>
          <a:noFill/>
          <a:ln w="9528">
            <a:solidFill>
              <a:srgbClr val="A8291C"/>
            </a:solidFill>
            <a:miter lim="800000"/>
            <a:headEnd/>
            <a:tailEnd type="arrow" w="med" len="med"/>
          </a:ln>
          <a:extLst>
            <a:ext uri="{909E8E84-426E-40DD-AFC4-6F175D3DCCD1}">
              <a14:hiddenFill xmlns:a14="http://schemas.microsoft.com/office/drawing/2010/main">
                <a:noFill/>
              </a14:hiddenFill>
            </a:ext>
          </a:extLst>
        </p:spPr>
      </p:cxnSp>
      <p:cxnSp>
        <p:nvCxnSpPr>
          <p:cNvPr id="134158" name="Connettore diritto 93">
            <a:extLst>
              <a:ext uri="{FF2B5EF4-FFF2-40B4-BE49-F238E27FC236}">
                <a16:creationId xmlns:a16="http://schemas.microsoft.com/office/drawing/2014/main" id="{629A6CC7-4921-FF4E-8E48-53828617D3C2}"/>
              </a:ext>
            </a:extLst>
          </p:cNvPr>
          <p:cNvCxnSpPr>
            <a:cxnSpLocks noChangeShapeType="1"/>
            <a:stCxn id="134165" idx="3"/>
          </p:cNvCxnSpPr>
          <p:nvPr/>
        </p:nvCxnSpPr>
        <p:spPr bwMode="auto">
          <a:xfrm flipH="1">
            <a:off x="7281864" y="2460625"/>
            <a:ext cx="693737" cy="0"/>
          </a:xfrm>
          <a:prstGeom prst="straightConnector1">
            <a:avLst/>
          </a:prstGeom>
          <a:noFill/>
          <a:ln w="9528">
            <a:solidFill>
              <a:srgbClr val="F39901"/>
            </a:solidFill>
            <a:miter lim="800000"/>
            <a:headEnd/>
            <a:tailEnd type="arrow" w="med" len="med"/>
          </a:ln>
          <a:extLst>
            <a:ext uri="{909E8E84-426E-40DD-AFC4-6F175D3DCCD1}">
              <a14:hiddenFill xmlns:a14="http://schemas.microsoft.com/office/drawing/2010/main">
                <a:noFill/>
              </a14:hiddenFill>
            </a:ext>
          </a:extLst>
        </p:spPr>
      </p:cxnSp>
      <p:grpSp>
        <p:nvGrpSpPr>
          <p:cNvPr id="134159" name="Gruppo 71">
            <a:extLst>
              <a:ext uri="{FF2B5EF4-FFF2-40B4-BE49-F238E27FC236}">
                <a16:creationId xmlns:a16="http://schemas.microsoft.com/office/drawing/2014/main" id="{E4328375-DE3D-084D-A495-B45E02A24171}"/>
              </a:ext>
            </a:extLst>
          </p:cNvPr>
          <p:cNvGrpSpPr>
            <a:grpSpLocks/>
          </p:cNvGrpSpPr>
          <p:nvPr/>
        </p:nvGrpSpPr>
        <p:grpSpPr bwMode="auto">
          <a:xfrm>
            <a:off x="5934076" y="4683125"/>
            <a:ext cx="485775" cy="488950"/>
            <a:chOff x="4410078" y="4683127"/>
            <a:chExt cx="485775" cy="488947"/>
          </a:xfrm>
        </p:grpSpPr>
        <p:sp>
          <p:nvSpPr>
            <p:cNvPr id="134175" name="Ovale 72">
              <a:extLst>
                <a:ext uri="{FF2B5EF4-FFF2-40B4-BE49-F238E27FC236}">
                  <a16:creationId xmlns:a16="http://schemas.microsoft.com/office/drawing/2014/main" id="{7EC59463-DD3A-E043-9D66-6C6942533861}"/>
                </a:ext>
              </a:extLst>
            </p:cNvPr>
            <p:cNvSpPr>
              <a:spLocks/>
            </p:cNvSpPr>
            <p:nvPr/>
          </p:nvSpPr>
          <p:spPr bwMode="auto">
            <a:xfrm>
              <a:off x="4410078" y="4683127"/>
              <a:ext cx="485775" cy="488947"/>
            </a:xfrm>
            <a:custGeom>
              <a:avLst/>
              <a:gdLst>
                <a:gd name="T0" fmla="*/ 242888 w 485775"/>
                <a:gd name="T1" fmla="*/ 0 h 488947"/>
                <a:gd name="T2" fmla="*/ 485775 w 485775"/>
                <a:gd name="T3" fmla="*/ 244474 h 488947"/>
                <a:gd name="T4" fmla="*/ 242888 w 485775"/>
                <a:gd name="T5" fmla="*/ 488947 h 488947"/>
                <a:gd name="T6" fmla="*/ 0 w 485775"/>
                <a:gd name="T7" fmla="*/ 244474 h 488947"/>
                <a:gd name="T8" fmla="*/ 71140 w 485775"/>
                <a:gd name="T9" fmla="*/ 71605 h 488947"/>
                <a:gd name="T10" fmla="*/ 71140 w 485775"/>
                <a:gd name="T11" fmla="*/ 417342 h 488947"/>
                <a:gd name="T12" fmla="*/ 414635 w 485775"/>
                <a:gd name="T13" fmla="*/ 417342 h 488947"/>
                <a:gd name="T14" fmla="*/ 414635 w 485775"/>
                <a:gd name="T15" fmla="*/ 71605 h 488947"/>
                <a:gd name="T16" fmla="*/ 17694720 60000 65536"/>
                <a:gd name="T17" fmla="*/ 0 60000 65536"/>
                <a:gd name="T18" fmla="*/ 5898240 60000 65536"/>
                <a:gd name="T19" fmla="*/ 11796480 60000 65536"/>
                <a:gd name="T20" fmla="*/ 17694720 60000 65536"/>
                <a:gd name="T21" fmla="*/ 5898240 60000 65536"/>
                <a:gd name="T22" fmla="*/ 5898240 60000 65536"/>
                <a:gd name="T23" fmla="*/ 17694720 60000 65536"/>
                <a:gd name="T24" fmla="*/ 71140 w 485775"/>
                <a:gd name="T25" fmla="*/ 71605 h 488947"/>
                <a:gd name="T26" fmla="*/ 414635 w 485775"/>
                <a:gd name="T27" fmla="*/ 417342 h 4889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85775" h="488947">
                  <a:moveTo>
                    <a:pt x="0" y="244474"/>
                  </a:moveTo>
                  <a:lnTo>
                    <a:pt x="0" y="244474"/>
                  </a:lnTo>
                  <a:cubicBezTo>
                    <a:pt x="0" y="379493"/>
                    <a:pt x="108744" y="488948"/>
                    <a:pt x="242888" y="488948"/>
                  </a:cubicBezTo>
                  <a:cubicBezTo>
                    <a:pt x="377031" y="488948"/>
                    <a:pt x="485776" y="379493"/>
                    <a:pt x="485776" y="244474"/>
                  </a:cubicBezTo>
                  <a:cubicBezTo>
                    <a:pt x="485776" y="109454"/>
                    <a:pt x="377031" y="0"/>
                    <a:pt x="242888" y="0"/>
                  </a:cubicBezTo>
                  <a:cubicBezTo>
                    <a:pt x="108744" y="0"/>
                    <a:pt x="0" y="109454"/>
                    <a:pt x="0" y="244473"/>
                  </a:cubicBezTo>
                  <a:lnTo>
                    <a:pt x="0" y="244474"/>
                  </a:lnTo>
                  <a:close/>
                </a:path>
              </a:pathLst>
            </a:custGeom>
            <a:solidFill>
              <a:srgbClr val="FFFFFF"/>
            </a:solidFill>
            <a:ln w="25402" cap="flat">
              <a:solidFill>
                <a:srgbClr val="3F414A"/>
              </a:solidFill>
              <a:prstDash val="solid"/>
              <a:miter lim="800000"/>
              <a:headEnd/>
              <a:tailEnd/>
            </a:ln>
          </p:spPr>
          <p:txBody>
            <a:bodyPr anchor="ctr" anchorCtr="1"/>
            <a:lstStyle/>
            <a:p>
              <a:endParaRPr lang="it-IT"/>
            </a:p>
          </p:txBody>
        </p:sp>
        <p:pic>
          <p:nvPicPr>
            <p:cNvPr id="134176" name="Immagine 73">
              <a:extLst>
                <a:ext uri="{FF2B5EF4-FFF2-40B4-BE49-F238E27FC236}">
                  <a16:creationId xmlns:a16="http://schemas.microsoft.com/office/drawing/2014/main" id="{5BB70756-AC36-5546-8BEA-A1166BA84024}"/>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4490005" y="4803132"/>
              <a:ext cx="307101" cy="269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34160" name="Gruppo 74">
            <a:extLst>
              <a:ext uri="{FF2B5EF4-FFF2-40B4-BE49-F238E27FC236}">
                <a16:creationId xmlns:a16="http://schemas.microsoft.com/office/drawing/2014/main" id="{42C1F818-1FCF-7C44-9794-C71C82DB5689}"/>
              </a:ext>
            </a:extLst>
          </p:cNvPr>
          <p:cNvGrpSpPr>
            <a:grpSpLocks/>
          </p:cNvGrpSpPr>
          <p:nvPr/>
        </p:nvGrpSpPr>
        <p:grpSpPr bwMode="auto">
          <a:xfrm>
            <a:off x="3911601" y="2190750"/>
            <a:ext cx="487363" cy="488950"/>
            <a:chOff x="2387598" y="2190746"/>
            <a:chExt cx="487366" cy="488947"/>
          </a:xfrm>
        </p:grpSpPr>
        <p:sp>
          <p:nvSpPr>
            <p:cNvPr id="134173" name="Ovale 75">
              <a:extLst>
                <a:ext uri="{FF2B5EF4-FFF2-40B4-BE49-F238E27FC236}">
                  <a16:creationId xmlns:a16="http://schemas.microsoft.com/office/drawing/2014/main" id="{E9A67969-99F6-7A46-B61E-7E9718008897}"/>
                </a:ext>
              </a:extLst>
            </p:cNvPr>
            <p:cNvSpPr>
              <a:spLocks/>
            </p:cNvSpPr>
            <p:nvPr/>
          </p:nvSpPr>
          <p:spPr bwMode="auto">
            <a:xfrm>
              <a:off x="2387598" y="2190746"/>
              <a:ext cx="487366" cy="488947"/>
            </a:xfrm>
            <a:custGeom>
              <a:avLst/>
              <a:gdLst>
                <a:gd name="T0" fmla="*/ 243683 w 487366"/>
                <a:gd name="T1" fmla="*/ 0 h 488947"/>
                <a:gd name="T2" fmla="*/ 487366 w 487366"/>
                <a:gd name="T3" fmla="*/ 244474 h 488947"/>
                <a:gd name="T4" fmla="*/ 243683 w 487366"/>
                <a:gd name="T5" fmla="*/ 488947 h 488947"/>
                <a:gd name="T6" fmla="*/ 0 w 487366"/>
                <a:gd name="T7" fmla="*/ 244474 h 488947"/>
                <a:gd name="T8" fmla="*/ 71373 w 487366"/>
                <a:gd name="T9" fmla="*/ 71605 h 488947"/>
                <a:gd name="T10" fmla="*/ 71373 w 487366"/>
                <a:gd name="T11" fmla="*/ 417342 h 488947"/>
                <a:gd name="T12" fmla="*/ 415993 w 487366"/>
                <a:gd name="T13" fmla="*/ 417342 h 488947"/>
                <a:gd name="T14" fmla="*/ 415993 w 487366"/>
                <a:gd name="T15" fmla="*/ 71605 h 488947"/>
                <a:gd name="T16" fmla="*/ 17694720 60000 65536"/>
                <a:gd name="T17" fmla="*/ 0 60000 65536"/>
                <a:gd name="T18" fmla="*/ 5898240 60000 65536"/>
                <a:gd name="T19" fmla="*/ 11796480 60000 65536"/>
                <a:gd name="T20" fmla="*/ 17694720 60000 65536"/>
                <a:gd name="T21" fmla="*/ 5898240 60000 65536"/>
                <a:gd name="T22" fmla="*/ 5898240 60000 65536"/>
                <a:gd name="T23" fmla="*/ 17694720 60000 65536"/>
                <a:gd name="T24" fmla="*/ 71373 w 487366"/>
                <a:gd name="T25" fmla="*/ 71605 h 488947"/>
                <a:gd name="T26" fmla="*/ 415993 w 487366"/>
                <a:gd name="T27" fmla="*/ 417342 h 4889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87366" h="488947">
                  <a:moveTo>
                    <a:pt x="0" y="244473"/>
                  </a:moveTo>
                  <a:lnTo>
                    <a:pt x="0" y="244473"/>
                  </a:lnTo>
                  <a:cubicBezTo>
                    <a:pt x="0" y="379491"/>
                    <a:pt x="109100" y="488946"/>
                    <a:pt x="243683" y="488946"/>
                  </a:cubicBezTo>
                  <a:cubicBezTo>
                    <a:pt x="378265" y="488946"/>
                    <a:pt x="487366" y="379491"/>
                    <a:pt x="487366" y="244473"/>
                  </a:cubicBezTo>
                  <a:cubicBezTo>
                    <a:pt x="487366" y="109454"/>
                    <a:pt x="378265" y="0"/>
                    <a:pt x="243683" y="0"/>
                  </a:cubicBezTo>
                  <a:cubicBezTo>
                    <a:pt x="109100" y="0"/>
                    <a:pt x="0" y="109454"/>
                    <a:pt x="0" y="244472"/>
                  </a:cubicBezTo>
                  <a:lnTo>
                    <a:pt x="0" y="244473"/>
                  </a:lnTo>
                  <a:close/>
                </a:path>
              </a:pathLst>
            </a:custGeom>
            <a:solidFill>
              <a:srgbClr val="FFFFFF"/>
            </a:solidFill>
            <a:ln w="25402" cap="flat">
              <a:solidFill>
                <a:srgbClr val="0070C0"/>
              </a:solidFill>
              <a:prstDash val="solid"/>
              <a:miter lim="800000"/>
              <a:headEnd/>
              <a:tailEnd/>
            </a:ln>
          </p:spPr>
          <p:txBody>
            <a:bodyPr anchor="ctr" anchorCtr="1"/>
            <a:lstStyle/>
            <a:p>
              <a:endParaRPr lang="it-IT"/>
            </a:p>
          </p:txBody>
        </p:sp>
        <p:sp>
          <p:nvSpPr>
            <p:cNvPr id="134174" name="Freeform 110">
              <a:extLst>
                <a:ext uri="{FF2B5EF4-FFF2-40B4-BE49-F238E27FC236}">
                  <a16:creationId xmlns:a16="http://schemas.microsoft.com/office/drawing/2014/main" id="{6FF31755-23E5-5145-99CD-491B0913EBAD}"/>
                </a:ext>
              </a:extLst>
            </p:cNvPr>
            <p:cNvSpPr>
              <a:spLocks/>
            </p:cNvSpPr>
            <p:nvPr/>
          </p:nvSpPr>
          <p:spPr bwMode="auto">
            <a:xfrm>
              <a:off x="2497134" y="2243132"/>
              <a:ext cx="252410" cy="311152"/>
            </a:xfrm>
            <a:custGeom>
              <a:avLst/>
              <a:gdLst>
                <a:gd name="T0" fmla="*/ 55208673 w 577"/>
                <a:gd name="T1" fmla="*/ 0 h 646"/>
                <a:gd name="T2" fmla="*/ 110417345 w 577"/>
                <a:gd name="T3" fmla="*/ 74934649 h 646"/>
                <a:gd name="T4" fmla="*/ 55208673 w 577"/>
                <a:gd name="T5" fmla="*/ 149869299 h 646"/>
                <a:gd name="T6" fmla="*/ 0 w 577"/>
                <a:gd name="T7" fmla="*/ 74934649 h 646"/>
                <a:gd name="T8" fmla="*/ 2147483646 w 577"/>
                <a:gd name="T9" fmla="*/ 2147483646 h 646"/>
                <a:gd name="T10" fmla="*/ 2147483646 w 577"/>
                <a:gd name="T11" fmla="*/ 2147483646 h 646"/>
                <a:gd name="T12" fmla="*/ 2147483646 w 577"/>
                <a:gd name="T13" fmla="*/ 2147483646 h 646"/>
                <a:gd name="T14" fmla="*/ 2147483646 w 577"/>
                <a:gd name="T15" fmla="*/ 2147483646 h 646"/>
                <a:gd name="T16" fmla="*/ 2147483646 w 577"/>
                <a:gd name="T17" fmla="*/ 2147483646 h 646"/>
                <a:gd name="T18" fmla="*/ 2147483646 w 577"/>
                <a:gd name="T19" fmla="*/ 2147483646 h 646"/>
                <a:gd name="T20" fmla="*/ 2147483646 w 577"/>
                <a:gd name="T21" fmla="*/ 2147483646 h 646"/>
                <a:gd name="T22" fmla="*/ 2147483646 w 577"/>
                <a:gd name="T23" fmla="*/ 2147483646 h 646"/>
                <a:gd name="T24" fmla="*/ 2147483646 w 577"/>
                <a:gd name="T25" fmla="*/ 2147483646 h 646"/>
                <a:gd name="T26" fmla="*/ 2147483646 w 577"/>
                <a:gd name="T27" fmla="*/ 2147483646 h 646"/>
                <a:gd name="T28" fmla="*/ 2147483646 w 577"/>
                <a:gd name="T29" fmla="*/ 2147483646 h 646"/>
                <a:gd name="T30" fmla="*/ 2147483646 w 577"/>
                <a:gd name="T31" fmla="*/ 2147483646 h 646"/>
                <a:gd name="T32" fmla="*/ 2147483646 w 577"/>
                <a:gd name="T33" fmla="*/ 2147483646 h 646"/>
                <a:gd name="T34" fmla="*/ 2147483646 w 577"/>
                <a:gd name="T35" fmla="*/ 2147483646 h 646"/>
                <a:gd name="T36" fmla="*/ 2147483646 w 577"/>
                <a:gd name="T37" fmla="*/ 2147483646 h 646"/>
                <a:gd name="T38" fmla="*/ 2147483646 w 577"/>
                <a:gd name="T39" fmla="*/ 2147483646 h 646"/>
                <a:gd name="T40" fmla="*/ 2147483646 w 577"/>
                <a:gd name="T41" fmla="*/ 2147483646 h 646"/>
                <a:gd name="T42" fmla="*/ 2147483646 w 577"/>
                <a:gd name="T43" fmla="*/ 2147483646 h 646"/>
                <a:gd name="T44" fmla="*/ 2147483646 w 577"/>
                <a:gd name="T45" fmla="*/ 2147483646 h 646"/>
                <a:gd name="T46" fmla="*/ 2147483646 w 577"/>
                <a:gd name="T47" fmla="*/ 2147483646 h 646"/>
                <a:gd name="T48" fmla="*/ 2147483646 w 577"/>
                <a:gd name="T49" fmla="*/ 2147483646 h 646"/>
                <a:gd name="T50" fmla="*/ 2147483646 w 577"/>
                <a:gd name="T51" fmla="*/ 2147483646 h 646"/>
                <a:gd name="T52" fmla="*/ 2147483646 w 577"/>
                <a:gd name="T53" fmla="*/ 2147483646 h 646"/>
                <a:gd name="T54" fmla="*/ 2147483646 w 577"/>
                <a:gd name="T55" fmla="*/ 2147483646 h 646"/>
                <a:gd name="T56" fmla="*/ 2147483646 w 577"/>
                <a:gd name="T57" fmla="*/ 2147483646 h 646"/>
                <a:gd name="T58" fmla="*/ 2147483646 w 577"/>
                <a:gd name="T59" fmla="*/ 2147483646 h 646"/>
                <a:gd name="T60" fmla="*/ 2147483646 w 577"/>
                <a:gd name="T61" fmla="*/ 2147483646 h 646"/>
                <a:gd name="T62" fmla="*/ 2147483646 w 577"/>
                <a:gd name="T63" fmla="*/ 2147483646 h 646"/>
                <a:gd name="T64" fmla="*/ 2147483646 w 577"/>
                <a:gd name="T65" fmla="*/ 2147483646 h 646"/>
                <a:gd name="T66" fmla="*/ 0 w 577"/>
                <a:gd name="T67" fmla="*/ 2147483646 h 646"/>
                <a:gd name="T68" fmla="*/ 2147483646 w 577"/>
                <a:gd name="T69" fmla="*/ 2147483646 h 646"/>
                <a:gd name="T70" fmla="*/ 2147483646 w 577"/>
                <a:gd name="T71" fmla="*/ 2147483646 h 646"/>
                <a:gd name="T72" fmla="*/ 2147483646 w 577"/>
                <a:gd name="T73" fmla="*/ 2147483646 h 646"/>
                <a:gd name="T74" fmla="*/ 2147483646 w 577"/>
                <a:gd name="T75" fmla="*/ 2147483646 h 646"/>
                <a:gd name="T76" fmla="*/ 2147483646 w 577"/>
                <a:gd name="T77" fmla="*/ 2147483646 h 646"/>
                <a:gd name="T78" fmla="*/ 2147483646 w 577"/>
                <a:gd name="T79" fmla="*/ 2147483646 h 646"/>
                <a:gd name="T80" fmla="*/ 2147483646 w 577"/>
                <a:gd name="T81" fmla="*/ 2147483646 h 646"/>
                <a:gd name="T82" fmla="*/ 2147483646 w 577"/>
                <a:gd name="T83" fmla="*/ 2147483646 h 646"/>
                <a:gd name="T84" fmla="*/ 2147483646 w 577"/>
                <a:gd name="T85" fmla="*/ 2147483646 h 646"/>
                <a:gd name="T86" fmla="*/ 2147483646 w 577"/>
                <a:gd name="T87" fmla="*/ 2147483646 h 646"/>
                <a:gd name="T88" fmla="*/ 2147483646 w 577"/>
                <a:gd name="T89" fmla="*/ 2147483646 h 646"/>
                <a:gd name="T90" fmla="*/ 2147483646 w 577"/>
                <a:gd name="T91" fmla="*/ 2147483646 h 646"/>
                <a:gd name="T92" fmla="*/ 2147483646 w 577"/>
                <a:gd name="T93" fmla="*/ 2147483646 h 646"/>
                <a:gd name="T94" fmla="*/ 2147483646 w 577"/>
                <a:gd name="T95" fmla="*/ 2147483646 h 646"/>
                <a:gd name="T96" fmla="*/ 17694720 60000 65536"/>
                <a:gd name="T97" fmla="*/ 0 60000 65536"/>
                <a:gd name="T98" fmla="*/ 5898240 60000 65536"/>
                <a:gd name="T99" fmla="*/ 1179648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7"/>
                <a:gd name="T145" fmla="*/ 0 h 646"/>
                <a:gd name="T146" fmla="*/ 577 w 577"/>
                <a:gd name="T147" fmla="*/ 646 h 64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7" h="646">
                  <a:moveTo>
                    <a:pt x="292" y="561"/>
                  </a:moveTo>
                  <a:cubicBezTo>
                    <a:pt x="233" y="561"/>
                    <a:pt x="196" y="510"/>
                    <a:pt x="196" y="432"/>
                  </a:cubicBezTo>
                  <a:cubicBezTo>
                    <a:pt x="196" y="395"/>
                    <a:pt x="204" y="363"/>
                    <a:pt x="221" y="340"/>
                  </a:cubicBezTo>
                  <a:cubicBezTo>
                    <a:pt x="238" y="316"/>
                    <a:pt x="263" y="304"/>
                    <a:pt x="292" y="304"/>
                  </a:cubicBezTo>
                  <a:cubicBezTo>
                    <a:pt x="320" y="304"/>
                    <a:pt x="344" y="317"/>
                    <a:pt x="363" y="345"/>
                  </a:cubicBezTo>
                  <a:cubicBezTo>
                    <a:pt x="365" y="348"/>
                    <a:pt x="364" y="353"/>
                    <a:pt x="361" y="355"/>
                  </a:cubicBezTo>
                  <a:cubicBezTo>
                    <a:pt x="358" y="357"/>
                    <a:pt x="354" y="356"/>
                    <a:pt x="351" y="353"/>
                  </a:cubicBezTo>
                  <a:cubicBezTo>
                    <a:pt x="335" y="329"/>
                    <a:pt x="316" y="318"/>
                    <a:pt x="292" y="318"/>
                  </a:cubicBezTo>
                  <a:cubicBezTo>
                    <a:pt x="267" y="318"/>
                    <a:pt x="247" y="328"/>
                    <a:pt x="232" y="348"/>
                  </a:cubicBezTo>
                  <a:cubicBezTo>
                    <a:pt x="218" y="369"/>
                    <a:pt x="210" y="398"/>
                    <a:pt x="210" y="432"/>
                  </a:cubicBezTo>
                  <a:cubicBezTo>
                    <a:pt x="210" y="502"/>
                    <a:pt x="242" y="547"/>
                    <a:pt x="292" y="547"/>
                  </a:cubicBezTo>
                  <a:cubicBezTo>
                    <a:pt x="316" y="547"/>
                    <a:pt x="335" y="535"/>
                    <a:pt x="351" y="511"/>
                  </a:cubicBezTo>
                  <a:cubicBezTo>
                    <a:pt x="354" y="508"/>
                    <a:pt x="358" y="507"/>
                    <a:pt x="361" y="509"/>
                  </a:cubicBezTo>
                  <a:cubicBezTo>
                    <a:pt x="364" y="512"/>
                    <a:pt x="365" y="516"/>
                    <a:pt x="363" y="519"/>
                  </a:cubicBezTo>
                  <a:cubicBezTo>
                    <a:pt x="344" y="547"/>
                    <a:pt x="320" y="561"/>
                    <a:pt x="292" y="561"/>
                  </a:cubicBezTo>
                  <a:close/>
                  <a:moveTo>
                    <a:pt x="299" y="406"/>
                  </a:moveTo>
                  <a:cubicBezTo>
                    <a:pt x="299" y="402"/>
                    <a:pt x="296" y="399"/>
                    <a:pt x="292" y="399"/>
                  </a:cubicBezTo>
                  <a:cubicBezTo>
                    <a:pt x="169" y="399"/>
                    <a:pt x="169" y="399"/>
                    <a:pt x="169" y="399"/>
                  </a:cubicBezTo>
                  <a:cubicBezTo>
                    <a:pt x="165" y="399"/>
                    <a:pt x="162" y="402"/>
                    <a:pt x="162" y="406"/>
                  </a:cubicBezTo>
                  <a:cubicBezTo>
                    <a:pt x="162" y="410"/>
                    <a:pt x="165" y="413"/>
                    <a:pt x="169" y="413"/>
                  </a:cubicBezTo>
                  <a:cubicBezTo>
                    <a:pt x="292" y="413"/>
                    <a:pt x="292" y="413"/>
                    <a:pt x="292" y="413"/>
                  </a:cubicBezTo>
                  <a:cubicBezTo>
                    <a:pt x="296" y="413"/>
                    <a:pt x="299" y="410"/>
                    <a:pt x="299" y="406"/>
                  </a:cubicBezTo>
                  <a:close/>
                  <a:moveTo>
                    <a:pt x="292" y="467"/>
                  </a:moveTo>
                  <a:cubicBezTo>
                    <a:pt x="296" y="467"/>
                    <a:pt x="299" y="464"/>
                    <a:pt x="299" y="460"/>
                  </a:cubicBezTo>
                  <a:cubicBezTo>
                    <a:pt x="299" y="456"/>
                    <a:pt x="296" y="453"/>
                    <a:pt x="292" y="453"/>
                  </a:cubicBezTo>
                  <a:cubicBezTo>
                    <a:pt x="169" y="453"/>
                    <a:pt x="169" y="453"/>
                    <a:pt x="169" y="453"/>
                  </a:cubicBezTo>
                  <a:cubicBezTo>
                    <a:pt x="165" y="453"/>
                    <a:pt x="162" y="456"/>
                    <a:pt x="162" y="460"/>
                  </a:cubicBezTo>
                  <a:cubicBezTo>
                    <a:pt x="162" y="464"/>
                    <a:pt x="165" y="467"/>
                    <a:pt x="169" y="467"/>
                  </a:cubicBezTo>
                  <a:lnTo>
                    <a:pt x="292" y="467"/>
                  </a:lnTo>
                  <a:close/>
                  <a:moveTo>
                    <a:pt x="364" y="219"/>
                  </a:moveTo>
                  <a:cubicBezTo>
                    <a:pt x="350" y="216"/>
                    <a:pt x="350" y="216"/>
                    <a:pt x="350" y="216"/>
                  </a:cubicBezTo>
                  <a:cubicBezTo>
                    <a:pt x="350" y="216"/>
                    <a:pt x="350" y="216"/>
                    <a:pt x="350" y="216"/>
                  </a:cubicBezTo>
                  <a:cubicBezTo>
                    <a:pt x="350" y="216"/>
                    <a:pt x="344" y="231"/>
                    <a:pt x="288" y="231"/>
                  </a:cubicBezTo>
                  <a:cubicBezTo>
                    <a:pt x="233" y="231"/>
                    <a:pt x="227" y="216"/>
                    <a:pt x="226" y="216"/>
                  </a:cubicBezTo>
                  <a:cubicBezTo>
                    <a:pt x="227" y="216"/>
                    <a:pt x="227" y="216"/>
                    <a:pt x="227" y="216"/>
                  </a:cubicBezTo>
                  <a:cubicBezTo>
                    <a:pt x="213" y="219"/>
                    <a:pt x="213" y="219"/>
                    <a:pt x="213" y="219"/>
                  </a:cubicBezTo>
                  <a:cubicBezTo>
                    <a:pt x="214" y="224"/>
                    <a:pt x="222" y="245"/>
                    <a:pt x="288" y="245"/>
                  </a:cubicBezTo>
                  <a:cubicBezTo>
                    <a:pt x="355" y="245"/>
                    <a:pt x="363" y="224"/>
                    <a:pt x="364" y="219"/>
                  </a:cubicBezTo>
                  <a:close/>
                  <a:moveTo>
                    <a:pt x="577" y="462"/>
                  </a:moveTo>
                  <a:cubicBezTo>
                    <a:pt x="577" y="344"/>
                    <a:pt x="452" y="245"/>
                    <a:pt x="364" y="213"/>
                  </a:cubicBezTo>
                  <a:cubicBezTo>
                    <a:pt x="366" y="181"/>
                    <a:pt x="381" y="134"/>
                    <a:pt x="443" y="83"/>
                  </a:cubicBezTo>
                  <a:cubicBezTo>
                    <a:pt x="445" y="81"/>
                    <a:pt x="447" y="80"/>
                    <a:pt x="447" y="80"/>
                  </a:cubicBezTo>
                  <a:cubicBezTo>
                    <a:pt x="461" y="67"/>
                    <a:pt x="461" y="57"/>
                    <a:pt x="458" y="51"/>
                  </a:cubicBezTo>
                  <a:cubicBezTo>
                    <a:pt x="455" y="42"/>
                    <a:pt x="444" y="37"/>
                    <a:pt x="430" y="37"/>
                  </a:cubicBezTo>
                  <a:cubicBezTo>
                    <a:pt x="418" y="37"/>
                    <a:pt x="405" y="41"/>
                    <a:pt x="392" y="47"/>
                  </a:cubicBezTo>
                  <a:cubicBezTo>
                    <a:pt x="387" y="49"/>
                    <a:pt x="382" y="51"/>
                    <a:pt x="377" y="51"/>
                  </a:cubicBezTo>
                  <a:cubicBezTo>
                    <a:pt x="365" y="51"/>
                    <a:pt x="355" y="43"/>
                    <a:pt x="344" y="31"/>
                  </a:cubicBezTo>
                  <a:cubicBezTo>
                    <a:pt x="341" y="28"/>
                    <a:pt x="341" y="28"/>
                    <a:pt x="341" y="28"/>
                  </a:cubicBezTo>
                  <a:cubicBezTo>
                    <a:pt x="328" y="15"/>
                    <a:pt x="314" y="0"/>
                    <a:pt x="288" y="0"/>
                  </a:cubicBezTo>
                  <a:cubicBezTo>
                    <a:pt x="263" y="0"/>
                    <a:pt x="249" y="15"/>
                    <a:pt x="236" y="28"/>
                  </a:cubicBezTo>
                  <a:cubicBezTo>
                    <a:pt x="233" y="31"/>
                    <a:pt x="233" y="31"/>
                    <a:pt x="233" y="31"/>
                  </a:cubicBezTo>
                  <a:cubicBezTo>
                    <a:pt x="222" y="43"/>
                    <a:pt x="212" y="51"/>
                    <a:pt x="200" y="51"/>
                  </a:cubicBezTo>
                  <a:cubicBezTo>
                    <a:pt x="200" y="51"/>
                    <a:pt x="200" y="51"/>
                    <a:pt x="200" y="51"/>
                  </a:cubicBezTo>
                  <a:cubicBezTo>
                    <a:pt x="195" y="51"/>
                    <a:pt x="190" y="49"/>
                    <a:pt x="185" y="47"/>
                  </a:cubicBezTo>
                  <a:cubicBezTo>
                    <a:pt x="172" y="41"/>
                    <a:pt x="159" y="37"/>
                    <a:pt x="147" y="37"/>
                  </a:cubicBezTo>
                  <a:cubicBezTo>
                    <a:pt x="133" y="37"/>
                    <a:pt x="122" y="42"/>
                    <a:pt x="119" y="51"/>
                  </a:cubicBezTo>
                  <a:cubicBezTo>
                    <a:pt x="116" y="57"/>
                    <a:pt x="116" y="67"/>
                    <a:pt x="130" y="80"/>
                  </a:cubicBezTo>
                  <a:cubicBezTo>
                    <a:pt x="130" y="80"/>
                    <a:pt x="132" y="81"/>
                    <a:pt x="134" y="83"/>
                  </a:cubicBezTo>
                  <a:cubicBezTo>
                    <a:pt x="196" y="134"/>
                    <a:pt x="211" y="181"/>
                    <a:pt x="213" y="213"/>
                  </a:cubicBezTo>
                  <a:cubicBezTo>
                    <a:pt x="125" y="245"/>
                    <a:pt x="0" y="344"/>
                    <a:pt x="0" y="462"/>
                  </a:cubicBezTo>
                  <a:cubicBezTo>
                    <a:pt x="0" y="579"/>
                    <a:pt x="47" y="646"/>
                    <a:pt x="288" y="646"/>
                  </a:cubicBezTo>
                  <a:cubicBezTo>
                    <a:pt x="530" y="646"/>
                    <a:pt x="577" y="579"/>
                    <a:pt x="577" y="462"/>
                  </a:cubicBezTo>
                  <a:close/>
                  <a:moveTo>
                    <a:pt x="179" y="59"/>
                  </a:moveTo>
                  <a:cubicBezTo>
                    <a:pt x="186" y="63"/>
                    <a:pt x="193" y="65"/>
                    <a:pt x="200" y="65"/>
                  </a:cubicBezTo>
                  <a:cubicBezTo>
                    <a:pt x="200" y="65"/>
                    <a:pt x="200" y="65"/>
                    <a:pt x="200" y="65"/>
                  </a:cubicBezTo>
                  <a:cubicBezTo>
                    <a:pt x="218" y="65"/>
                    <a:pt x="231" y="53"/>
                    <a:pt x="243" y="41"/>
                  </a:cubicBezTo>
                  <a:cubicBezTo>
                    <a:pt x="246" y="37"/>
                    <a:pt x="246" y="37"/>
                    <a:pt x="246" y="37"/>
                  </a:cubicBezTo>
                  <a:cubicBezTo>
                    <a:pt x="258" y="25"/>
                    <a:pt x="269" y="14"/>
                    <a:pt x="288" y="14"/>
                  </a:cubicBezTo>
                  <a:cubicBezTo>
                    <a:pt x="308" y="14"/>
                    <a:pt x="319" y="25"/>
                    <a:pt x="331" y="37"/>
                  </a:cubicBezTo>
                  <a:cubicBezTo>
                    <a:pt x="334" y="41"/>
                    <a:pt x="334" y="41"/>
                    <a:pt x="334" y="41"/>
                  </a:cubicBezTo>
                  <a:cubicBezTo>
                    <a:pt x="346" y="53"/>
                    <a:pt x="359" y="65"/>
                    <a:pt x="377" y="65"/>
                  </a:cubicBezTo>
                  <a:cubicBezTo>
                    <a:pt x="384" y="65"/>
                    <a:pt x="391" y="63"/>
                    <a:pt x="398" y="59"/>
                  </a:cubicBezTo>
                  <a:cubicBezTo>
                    <a:pt x="409" y="54"/>
                    <a:pt x="420" y="51"/>
                    <a:pt x="430" y="51"/>
                  </a:cubicBezTo>
                  <a:cubicBezTo>
                    <a:pt x="439" y="51"/>
                    <a:pt x="444" y="54"/>
                    <a:pt x="445" y="56"/>
                  </a:cubicBezTo>
                  <a:cubicBezTo>
                    <a:pt x="446" y="58"/>
                    <a:pt x="444" y="63"/>
                    <a:pt x="438" y="70"/>
                  </a:cubicBezTo>
                  <a:cubicBezTo>
                    <a:pt x="437" y="70"/>
                    <a:pt x="436" y="71"/>
                    <a:pt x="435" y="72"/>
                  </a:cubicBezTo>
                  <a:cubicBezTo>
                    <a:pt x="365" y="129"/>
                    <a:pt x="350" y="183"/>
                    <a:pt x="350" y="218"/>
                  </a:cubicBezTo>
                  <a:cubicBezTo>
                    <a:pt x="350" y="221"/>
                    <a:pt x="352" y="223"/>
                    <a:pt x="355" y="224"/>
                  </a:cubicBezTo>
                  <a:cubicBezTo>
                    <a:pt x="439" y="253"/>
                    <a:pt x="563" y="349"/>
                    <a:pt x="563" y="462"/>
                  </a:cubicBezTo>
                  <a:cubicBezTo>
                    <a:pt x="563" y="573"/>
                    <a:pt x="519" y="632"/>
                    <a:pt x="288" y="632"/>
                  </a:cubicBezTo>
                  <a:cubicBezTo>
                    <a:pt x="58" y="632"/>
                    <a:pt x="14" y="573"/>
                    <a:pt x="14" y="462"/>
                  </a:cubicBezTo>
                  <a:cubicBezTo>
                    <a:pt x="14" y="349"/>
                    <a:pt x="138" y="253"/>
                    <a:pt x="222" y="224"/>
                  </a:cubicBezTo>
                  <a:cubicBezTo>
                    <a:pt x="225" y="223"/>
                    <a:pt x="227" y="221"/>
                    <a:pt x="227" y="218"/>
                  </a:cubicBezTo>
                  <a:cubicBezTo>
                    <a:pt x="227" y="183"/>
                    <a:pt x="212" y="129"/>
                    <a:pt x="142" y="72"/>
                  </a:cubicBezTo>
                  <a:cubicBezTo>
                    <a:pt x="141" y="71"/>
                    <a:pt x="140" y="70"/>
                    <a:pt x="139" y="70"/>
                  </a:cubicBezTo>
                  <a:cubicBezTo>
                    <a:pt x="133" y="63"/>
                    <a:pt x="131" y="58"/>
                    <a:pt x="132" y="56"/>
                  </a:cubicBezTo>
                  <a:cubicBezTo>
                    <a:pt x="133" y="54"/>
                    <a:pt x="138" y="51"/>
                    <a:pt x="147" y="51"/>
                  </a:cubicBezTo>
                  <a:cubicBezTo>
                    <a:pt x="157" y="51"/>
                    <a:pt x="168" y="54"/>
                    <a:pt x="179" y="59"/>
                  </a:cubicBezTo>
                  <a:close/>
                </a:path>
              </a:pathLst>
            </a:custGeom>
            <a:noFill/>
            <a:ln w="0" cap="flat">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lIns="68580" tIns="34290" rIns="68580" bIns="34290"/>
            <a:lstStyle/>
            <a:p>
              <a:endParaRPr lang="it-IT"/>
            </a:p>
          </p:txBody>
        </p:sp>
      </p:grpSp>
      <p:grpSp>
        <p:nvGrpSpPr>
          <p:cNvPr id="134161" name="Gruppo 77">
            <a:extLst>
              <a:ext uri="{FF2B5EF4-FFF2-40B4-BE49-F238E27FC236}">
                <a16:creationId xmlns:a16="http://schemas.microsoft.com/office/drawing/2014/main" id="{1E425091-3BEA-FC4E-9312-83451D4838CB}"/>
              </a:ext>
            </a:extLst>
          </p:cNvPr>
          <p:cNvGrpSpPr>
            <a:grpSpLocks/>
          </p:cNvGrpSpPr>
          <p:nvPr/>
        </p:nvGrpSpPr>
        <p:grpSpPr bwMode="auto">
          <a:xfrm>
            <a:off x="7975601" y="3627439"/>
            <a:ext cx="485775" cy="490537"/>
            <a:chOff x="6451604" y="3627433"/>
            <a:chExt cx="485775" cy="490539"/>
          </a:xfrm>
        </p:grpSpPr>
        <p:sp>
          <p:nvSpPr>
            <p:cNvPr id="134171" name="Ovale 78">
              <a:extLst>
                <a:ext uri="{FF2B5EF4-FFF2-40B4-BE49-F238E27FC236}">
                  <a16:creationId xmlns:a16="http://schemas.microsoft.com/office/drawing/2014/main" id="{A3CF2764-33FF-664D-BDC9-CA3B1B500D87}"/>
                </a:ext>
              </a:extLst>
            </p:cNvPr>
            <p:cNvSpPr>
              <a:spLocks/>
            </p:cNvSpPr>
            <p:nvPr/>
          </p:nvSpPr>
          <p:spPr bwMode="auto">
            <a:xfrm>
              <a:off x="6451604" y="3627433"/>
              <a:ext cx="485775" cy="490539"/>
            </a:xfrm>
            <a:custGeom>
              <a:avLst/>
              <a:gdLst>
                <a:gd name="T0" fmla="*/ 242888 w 485775"/>
                <a:gd name="T1" fmla="*/ 0 h 490539"/>
                <a:gd name="T2" fmla="*/ 485775 w 485775"/>
                <a:gd name="T3" fmla="*/ 245270 h 490539"/>
                <a:gd name="T4" fmla="*/ 242888 w 485775"/>
                <a:gd name="T5" fmla="*/ 490539 h 490539"/>
                <a:gd name="T6" fmla="*/ 0 w 485775"/>
                <a:gd name="T7" fmla="*/ 245270 h 490539"/>
                <a:gd name="T8" fmla="*/ 71140 w 485775"/>
                <a:gd name="T9" fmla="*/ 71838 h 490539"/>
                <a:gd name="T10" fmla="*/ 71140 w 485775"/>
                <a:gd name="T11" fmla="*/ 418701 h 490539"/>
                <a:gd name="T12" fmla="*/ 414635 w 485775"/>
                <a:gd name="T13" fmla="*/ 418701 h 490539"/>
                <a:gd name="T14" fmla="*/ 414635 w 485775"/>
                <a:gd name="T15" fmla="*/ 71838 h 490539"/>
                <a:gd name="T16" fmla="*/ 17694720 60000 65536"/>
                <a:gd name="T17" fmla="*/ 0 60000 65536"/>
                <a:gd name="T18" fmla="*/ 5898240 60000 65536"/>
                <a:gd name="T19" fmla="*/ 11796480 60000 65536"/>
                <a:gd name="T20" fmla="*/ 17694720 60000 65536"/>
                <a:gd name="T21" fmla="*/ 5898240 60000 65536"/>
                <a:gd name="T22" fmla="*/ 5898240 60000 65536"/>
                <a:gd name="T23" fmla="*/ 17694720 60000 65536"/>
                <a:gd name="T24" fmla="*/ 71140 w 485775"/>
                <a:gd name="T25" fmla="*/ 71838 h 490539"/>
                <a:gd name="T26" fmla="*/ 414635 w 485775"/>
                <a:gd name="T27" fmla="*/ 418701 h 49053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85775" h="490539">
                  <a:moveTo>
                    <a:pt x="0" y="245270"/>
                  </a:moveTo>
                  <a:lnTo>
                    <a:pt x="0" y="245270"/>
                  </a:lnTo>
                  <a:cubicBezTo>
                    <a:pt x="0" y="380728"/>
                    <a:pt x="108744" y="490540"/>
                    <a:pt x="242888" y="490540"/>
                  </a:cubicBezTo>
                  <a:cubicBezTo>
                    <a:pt x="377031" y="490540"/>
                    <a:pt x="485776" y="380728"/>
                    <a:pt x="485776" y="245270"/>
                  </a:cubicBezTo>
                  <a:cubicBezTo>
                    <a:pt x="485776" y="109811"/>
                    <a:pt x="377031" y="0"/>
                    <a:pt x="242888" y="0"/>
                  </a:cubicBezTo>
                  <a:cubicBezTo>
                    <a:pt x="108744" y="0"/>
                    <a:pt x="0" y="109811"/>
                    <a:pt x="0" y="245269"/>
                  </a:cubicBezTo>
                  <a:lnTo>
                    <a:pt x="0" y="245270"/>
                  </a:lnTo>
                  <a:close/>
                </a:path>
              </a:pathLst>
            </a:custGeom>
            <a:solidFill>
              <a:srgbClr val="FFFFFF"/>
            </a:solidFill>
            <a:ln w="25402" cap="flat">
              <a:solidFill>
                <a:srgbClr val="A8291C"/>
              </a:solidFill>
              <a:prstDash val="solid"/>
              <a:miter lim="800000"/>
              <a:headEnd/>
              <a:tailEnd/>
            </a:ln>
          </p:spPr>
          <p:txBody>
            <a:bodyPr anchor="ctr" anchorCtr="1"/>
            <a:lstStyle/>
            <a:p>
              <a:endParaRPr lang="it-IT"/>
            </a:p>
          </p:txBody>
        </p:sp>
        <p:pic>
          <p:nvPicPr>
            <p:cNvPr id="134172" name="Immagine 100">
              <a:extLst>
                <a:ext uri="{FF2B5EF4-FFF2-40B4-BE49-F238E27FC236}">
                  <a16:creationId xmlns:a16="http://schemas.microsoft.com/office/drawing/2014/main" id="{F715BFC0-30D5-0A49-9A41-E11069042DB5}"/>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6548439" y="3714749"/>
              <a:ext cx="304796" cy="304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34162" name="Gruppo 80">
            <a:extLst>
              <a:ext uri="{FF2B5EF4-FFF2-40B4-BE49-F238E27FC236}">
                <a16:creationId xmlns:a16="http://schemas.microsoft.com/office/drawing/2014/main" id="{F8B27C30-C519-704F-90BE-C247183E0D73}"/>
              </a:ext>
            </a:extLst>
          </p:cNvPr>
          <p:cNvGrpSpPr>
            <a:grpSpLocks/>
          </p:cNvGrpSpPr>
          <p:nvPr/>
        </p:nvGrpSpPr>
        <p:grpSpPr bwMode="auto">
          <a:xfrm>
            <a:off x="7798596" y="2046008"/>
            <a:ext cx="1928813" cy="1128196"/>
            <a:chOff x="6880229" y="1970083"/>
            <a:chExt cx="1928806" cy="1128196"/>
          </a:xfrm>
        </p:grpSpPr>
        <p:sp>
          <p:nvSpPr>
            <p:cNvPr id="134169" name="CasellaDiTesto 49">
              <a:extLst>
                <a:ext uri="{FF2B5EF4-FFF2-40B4-BE49-F238E27FC236}">
                  <a16:creationId xmlns:a16="http://schemas.microsoft.com/office/drawing/2014/main" id="{39276C7E-F5C3-0749-A8E0-44DD3CA9B0A8}"/>
                </a:ext>
              </a:extLst>
            </p:cNvPr>
            <p:cNvSpPr txBox="1">
              <a:spLocks noChangeArrowheads="1"/>
            </p:cNvSpPr>
            <p:nvPr/>
          </p:nvSpPr>
          <p:spPr bwMode="auto">
            <a:xfrm>
              <a:off x="6880229" y="1970083"/>
              <a:ext cx="1836736" cy="2767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r" eaLnBrk="1"/>
              <a:r>
                <a:rPr lang="it-IT" altLang="it-IT" sz="1200" b="1">
                  <a:solidFill>
                    <a:srgbClr val="F39901"/>
                  </a:solidFill>
                  <a:latin typeface="+mn-lt"/>
                  <a:ea typeface="ＭＳ Ｐゴシック" panose="020B0600070205080204" pitchFamily="34" charset="-128"/>
                  <a:cs typeface="Calibri" panose="020F0502020204030204" pitchFamily="34" charset="0"/>
                </a:rPr>
                <a:t>Misurazione</a:t>
              </a:r>
            </a:p>
          </p:txBody>
        </p:sp>
        <p:sp>
          <p:nvSpPr>
            <p:cNvPr id="134170" name="CasellaDiTesto 103">
              <a:extLst>
                <a:ext uri="{FF2B5EF4-FFF2-40B4-BE49-F238E27FC236}">
                  <a16:creationId xmlns:a16="http://schemas.microsoft.com/office/drawing/2014/main" id="{C14FD2CE-882E-214D-8A32-D870DBC53079}"/>
                </a:ext>
              </a:extLst>
            </p:cNvPr>
            <p:cNvSpPr txBox="1">
              <a:spLocks noChangeArrowheads="1"/>
            </p:cNvSpPr>
            <p:nvPr/>
          </p:nvSpPr>
          <p:spPr bwMode="auto">
            <a:xfrm>
              <a:off x="6972299" y="2267282"/>
              <a:ext cx="1836736"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r" eaLnBrk="1"/>
              <a:r>
                <a:rPr lang="it-IT" altLang="it-IT" sz="1200" dirty="0">
                  <a:solidFill>
                    <a:srgbClr val="000000"/>
                  </a:solidFill>
                  <a:latin typeface="+mn-lt"/>
                  <a:ea typeface="ＭＳ Ｐゴシック" panose="020B0600070205080204" pitchFamily="34" charset="-128"/>
                  <a:cs typeface="Calibri" panose="020F0502020204030204" pitchFamily="34" charset="0"/>
                </a:rPr>
                <a:t>Monitoraggio trimestrale e valutazione annuale.</a:t>
              </a:r>
            </a:p>
            <a:p>
              <a:pPr algn="r" eaLnBrk="1"/>
              <a:r>
                <a:rPr lang="it-IT" altLang="it-IT" sz="1200" dirty="0">
                  <a:solidFill>
                    <a:srgbClr val="000000"/>
                  </a:solidFill>
                  <a:latin typeface="+mn-lt"/>
                  <a:ea typeface="ＭＳ Ｐゴシック" panose="020B0600070205080204" pitchFamily="34" charset="-128"/>
                  <a:cs typeface="Calibri" panose="020F0502020204030204" pitchFamily="34" charset="0"/>
                </a:rPr>
                <a:t>Audit.</a:t>
              </a:r>
            </a:p>
          </p:txBody>
        </p:sp>
      </p:grpSp>
      <p:grpSp>
        <p:nvGrpSpPr>
          <p:cNvPr id="134163" name="Gruppo 83">
            <a:extLst>
              <a:ext uri="{FF2B5EF4-FFF2-40B4-BE49-F238E27FC236}">
                <a16:creationId xmlns:a16="http://schemas.microsoft.com/office/drawing/2014/main" id="{A6A5EB4B-BDCB-9642-BDDB-AB7A1541F4C1}"/>
              </a:ext>
            </a:extLst>
          </p:cNvPr>
          <p:cNvGrpSpPr>
            <a:grpSpLocks/>
          </p:cNvGrpSpPr>
          <p:nvPr/>
        </p:nvGrpSpPr>
        <p:grpSpPr bwMode="auto">
          <a:xfrm>
            <a:off x="3908426" y="3627439"/>
            <a:ext cx="485775" cy="490537"/>
            <a:chOff x="2384426" y="3627433"/>
            <a:chExt cx="485775" cy="490539"/>
          </a:xfrm>
        </p:grpSpPr>
        <p:sp>
          <p:nvSpPr>
            <p:cNvPr id="134167" name="Ovale 84">
              <a:extLst>
                <a:ext uri="{FF2B5EF4-FFF2-40B4-BE49-F238E27FC236}">
                  <a16:creationId xmlns:a16="http://schemas.microsoft.com/office/drawing/2014/main" id="{3BC16E4C-B01C-B140-AD34-9FE41895DF41}"/>
                </a:ext>
              </a:extLst>
            </p:cNvPr>
            <p:cNvSpPr>
              <a:spLocks/>
            </p:cNvSpPr>
            <p:nvPr/>
          </p:nvSpPr>
          <p:spPr bwMode="auto">
            <a:xfrm>
              <a:off x="2384426" y="3627433"/>
              <a:ext cx="485775" cy="490539"/>
            </a:xfrm>
            <a:custGeom>
              <a:avLst/>
              <a:gdLst>
                <a:gd name="T0" fmla="*/ 242888 w 485775"/>
                <a:gd name="T1" fmla="*/ 0 h 490539"/>
                <a:gd name="T2" fmla="*/ 485775 w 485775"/>
                <a:gd name="T3" fmla="*/ 245270 h 490539"/>
                <a:gd name="T4" fmla="*/ 242888 w 485775"/>
                <a:gd name="T5" fmla="*/ 490539 h 490539"/>
                <a:gd name="T6" fmla="*/ 0 w 485775"/>
                <a:gd name="T7" fmla="*/ 245270 h 490539"/>
                <a:gd name="T8" fmla="*/ 71140 w 485775"/>
                <a:gd name="T9" fmla="*/ 71838 h 490539"/>
                <a:gd name="T10" fmla="*/ 71140 w 485775"/>
                <a:gd name="T11" fmla="*/ 418701 h 490539"/>
                <a:gd name="T12" fmla="*/ 414635 w 485775"/>
                <a:gd name="T13" fmla="*/ 418701 h 490539"/>
                <a:gd name="T14" fmla="*/ 414635 w 485775"/>
                <a:gd name="T15" fmla="*/ 71838 h 490539"/>
                <a:gd name="T16" fmla="*/ 17694720 60000 65536"/>
                <a:gd name="T17" fmla="*/ 0 60000 65536"/>
                <a:gd name="T18" fmla="*/ 5898240 60000 65536"/>
                <a:gd name="T19" fmla="*/ 11796480 60000 65536"/>
                <a:gd name="T20" fmla="*/ 17694720 60000 65536"/>
                <a:gd name="T21" fmla="*/ 5898240 60000 65536"/>
                <a:gd name="T22" fmla="*/ 5898240 60000 65536"/>
                <a:gd name="T23" fmla="*/ 17694720 60000 65536"/>
                <a:gd name="T24" fmla="*/ 71140 w 485775"/>
                <a:gd name="T25" fmla="*/ 71838 h 490539"/>
                <a:gd name="T26" fmla="*/ 414635 w 485775"/>
                <a:gd name="T27" fmla="*/ 418701 h 49053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85775" h="490539">
                  <a:moveTo>
                    <a:pt x="0" y="245270"/>
                  </a:moveTo>
                  <a:lnTo>
                    <a:pt x="0" y="245270"/>
                  </a:lnTo>
                  <a:cubicBezTo>
                    <a:pt x="0" y="380728"/>
                    <a:pt x="108744" y="490540"/>
                    <a:pt x="242888" y="490540"/>
                  </a:cubicBezTo>
                  <a:cubicBezTo>
                    <a:pt x="377031" y="490540"/>
                    <a:pt x="485776" y="380728"/>
                    <a:pt x="485776" y="245270"/>
                  </a:cubicBezTo>
                  <a:cubicBezTo>
                    <a:pt x="485776" y="109811"/>
                    <a:pt x="377031" y="0"/>
                    <a:pt x="242888" y="0"/>
                  </a:cubicBezTo>
                  <a:cubicBezTo>
                    <a:pt x="108744" y="0"/>
                    <a:pt x="0" y="109811"/>
                    <a:pt x="0" y="245269"/>
                  </a:cubicBezTo>
                  <a:lnTo>
                    <a:pt x="0" y="245270"/>
                  </a:lnTo>
                  <a:close/>
                </a:path>
              </a:pathLst>
            </a:custGeom>
            <a:solidFill>
              <a:srgbClr val="FFFFFF"/>
            </a:solidFill>
            <a:ln w="25402" cap="flat">
              <a:solidFill>
                <a:srgbClr val="92D050"/>
              </a:solidFill>
              <a:prstDash val="solid"/>
              <a:miter lim="800000"/>
              <a:headEnd/>
              <a:tailEnd/>
            </a:ln>
          </p:spPr>
          <p:txBody>
            <a:bodyPr anchor="ctr" anchorCtr="1"/>
            <a:lstStyle/>
            <a:p>
              <a:endParaRPr lang="it-IT"/>
            </a:p>
          </p:txBody>
        </p:sp>
        <p:sp>
          <p:nvSpPr>
            <p:cNvPr id="134168" name="Freeform 18">
              <a:extLst>
                <a:ext uri="{FF2B5EF4-FFF2-40B4-BE49-F238E27FC236}">
                  <a16:creationId xmlns:a16="http://schemas.microsoft.com/office/drawing/2014/main" id="{CF0219CF-6CEF-D049-BC43-98179C5002DE}"/>
                </a:ext>
              </a:extLst>
            </p:cNvPr>
            <p:cNvSpPr>
              <a:spLocks/>
            </p:cNvSpPr>
            <p:nvPr/>
          </p:nvSpPr>
          <p:spPr bwMode="auto">
            <a:xfrm>
              <a:off x="2487616" y="3751261"/>
              <a:ext cx="268284" cy="233364"/>
            </a:xfrm>
            <a:custGeom>
              <a:avLst/>
              <a:gdLst>
                <a:gd name="T0" fmla="*/ 47984203 w 750"/>
                <a:gd name="T1" fmla="*/ 0 h 643"/>
                <a:gd name="T2" fmla="*/ 95968406 w 750"/>
                <a:gd name="T3" fmla="*/ 42347400 h 643"/>
                <a:gd name="T4" fmla="*/ 47984203 w 750"/>
                <a:gd name="T5" fmla="*/ 84694800 h 643"/>
                <a:gd name="T6" fmla="*/ 0 w 750"/>
                <a:gd name="T7" fmla="*/ 42347400 h 643"/>
                <a:gd name="T8" fmla="*/ 2147483646 w 750"/>
                <a:gd name="T9" fmla="*/ 2147483646 h 643"/>
                <a:gd name="T10" fmla="*/ 2147483646 w 750"/>
                <a:gd name="T11" fmla="*/ 2147483646 h 643"/>
                <a:gd name="T12" fmla="*/ 2147483646 w 750"/>
                <a:gd name="T13" fmla="*/ 2147483646 h 643"/>
                <a:gd name="T14" fmla="*/ 2147483646 w 750"/>
                <a:gd name="T15" fmla="*/ 2147483646 h 643"/>
                <a:gd name="T16" fmla="*/ 2147483646 w 750"/>
                <a:gd name="T17" fmla="*/ 2147483646 h 643"/>
                <a:gd name="T18" fmla="*/ 2147483646 w 750"/>
                <a:gd name="T19" fmla="*/ 2147483646 h 643"/>
                <a:gd name="T20" fmla="*/ 2147483646 w 750"/>
                <a:gd name="T21" fmla="*/ 2147483646 h 643"/>
                <a:gd name="T22" fmla="*/ 2147483646 w 750"/>
                <a:gd name="T23" fmla="*/ 2147483646 h 643"/>
                <a:gd name="T24" fmla="*/ 2147483646 w 750"/>
                <a:gd name="T25" fmla="*/ 2147483646 h 643"/>
                <a:gd name="T26" fmla="*/ 2147483646 w 750"/>
                <a:gd name="T27" fmla="*/ 2147483646 h 643"/>
                <a:gd name="T28" fmla="*/ 2147483646 w 750"/>
                <a:gd name="T29" fmla="*/ 2147483646 h 643"/>
                <a:gd name="T30" fmla="*/ 2147483646 w 750"/>
                <a:gd name="T31" fmla="*/ 2147483646 h 643"/>
                <a:gd name="T32" fmla="*/ 2147483646 w 750"/>
                <a:gd name="T33" fmla="*/ 2147483646 h 643"/>
                <a:gd name="T34" fmla="*/ 2147483646 w 750"/>
                <a:gd name="T35" fmla="*/ 2147483646 h 643"/>
                <a:gd name="T36" fmla="*/ 2147483646 w 750"/>
                <a:gd name="T37" fmla="*/ 2147483646 h 643"/>
                <a:gd name="T38" fmla="*/ 2147483646 w 750"/>
                <a:gd name="T39" fmla="*/ 2147483646 h 643"/>
                <a:gd name="T40" fmla="*/ 2147483646 w 750"/>
                <a:gd name="T41" fmla="*/ 2147483646 h 643"/>
                <a:gd name="T42" fmla="*/ 2147483646 w 750"/>
                <a:gd name="T43" fmla="*/ 2147483646 h 643"/>
                <a:gd name="T44" fmla="*/ 2147483646 w 750"/>
                <a:gd name="T45" fmla="*/ 2147483646 h 643"/>
                <a:gd name="T46" fmla="*/ 2147483646 w 750"/>
                <a:gd name="T47" fmla="*/ 2147483646 h 643"/>
                <a:gd name="T48" fmla="*/ 2147483646 w 750"/>
                <a:gd name="T49" fmla="*/ 2147483646 h 643"/>
                <a:gd name="T50" fmla="*/ 2147483646 w 750"/>
                <a:gd name="T51" fmla="*/ 2147483646 h 643"/>
                <a:gd name="T52" fmla="*/ 2147483646 w 750"/>
                <a:gd name="T53" fmla="*/ 2147483646 h 643"/>
                <a:gd name="T54" fmla="*/ 2147483646 w 750"/>
                <a:gd name="T55" fmla="*/ 2147483646 h 643"/>
                <a:gd name="T56" fmla="*/ 2147483646 w 750"/>
                <a:gd name="T57" fmla="*/ 2147483646 h 643"/>
                <a:gd name="T58" fmla="*/ 2147483646 w 750"/>
                <a:gd name="T59" fmla="*/ 2147483646 h 643"/>
                <a:gd name="T60" fmla="*/ 2147483646 w 750"/>
                <a:gd name="T61" fmla="*/ 2147483646 h 643"/>
                <a:gd name="T62" fmla="*/ 2147483646 w 750"/>
                <a:gd name="T63" fmla="*/ 2147483646 h 643"/>
                <a:gd name="T64" fmla="*/ 2147483646 w 750"/>
                <a:gd name="T65" fmla="*/ 2147483646 h 643"/>
                <a:gd name="T66" fmla="*/ 2147483646 w 750"/>
                <a:gd name="T67" fmla="*/ 2147483646 h 643"/>
                <a:gd name="T68" fmla="*/ 0 w 750"/>
                <a:gd name="T69" fmla="*/ 2147483646 h 643"/>
                <a:gd name="T70" fmla="*/ 2147483646 w 750"/>
                <a:gd name="T71" fmla="*/ 2147483646 h 643"/>
                <a:gd name="T72" fmla="*/ 2147483646 w 750"/>
                <a:gd name="T73" fmla="*/ 2147483646 h 643"/>
                <a:gd name="T74" fmla="*/ 2147483646 w 750"/>
                <a:gd name="T75" fmla="*/ 2147483646 h 643"/>
                <a:gd name="T76" fmla="*/ 2147483646 w 750"/>
                <a:gd name="T77" fmla="*/ 2147483646 h 643"/>
                <a:gd name="T78" fmla="*/ 2147483646 w 750"/>
                <a:gd name="T79" fmla="*/ 2147483646 h 643"/>
                <a:gd name="T80" fmla="*/ 2147483646 w 750"/>
                <a:gd name="T81" fmla="*/ 2147483646 h 643"/>
                <a:gd name="T82" fmla="*/ 2147483646 w 750"/>
                <a:gd name="T83" fmla="*/ 2147483646 h 643"/>
                <a:gd name="T84" fmla="*/ 2147483646 w 750"/>
                <a:gd name="T85" fmla="*/ 2147483646 h 643"/>
                <a:gd name="T86" fmla="*/ 2147483646 w 750"/>
                <a:gd name="T87" fmla="*/ 2147483646 h 643"/>
                <a:gd name="T88" fmla="*/ 2147483646 w 750"/>
                <a:gd name="T89" fmla="*/ 2147483646 h 643"/>
                <a:gd name="T90" fmla="*/ 2147483646 w 750"/>
                <a:gd name="T91" fmla="*/ 2147483646 h 643"/>
                <a:gd name="T92" fmla="*/ 2147483646 w 750"/>
                <a:gd name="T93" fmla="*/ 2147483646 h 643"/>
                <a:gd name="T94" fmla="*/ 2147483646 w 750"/>
                <a:gd name="T95" fmla="*/ 2147483646 h 643"/>
                <a:gd name="T96" fmla="*/ 2147483646 w 750"/>
                <a:gd name="T97" fmla="*/ 2147483646 h 643"/>
                <a:gd name="T98" fmla="*/ 2147483646 w 750"/>
                <a:gd name="T99" fmla="*/ 2147483646 h 643"/>
                <a:gd name="T100" fmla="*/ 2147483646 w 750"/>
                <a:gd name="T101" fmla="*/ 2147483646 h 643"/>
                <a:gd name="T102" fmla="*/ 2147483646 w 750"/>
                <a:gd name="T103" fmla="*/ 2147483646 h 643"/>
                <a:gd name="T104" fmla="*/ 2147483646 w 750"/>
                <a:gd name="T105" fmla="*/ 2147483646 h 643"/>
                <a:gd name="T106" fmla="*/ 2147483646 w 750"/>
                <a:gd name="T107" fmla="*/ 2147483646 h 643"/>
                <a:gd name="T108" fmla="*/ 2147483646 w 750"/>
                <a:gd name="T109" fmla="*/ 2147483646 h 643"/>
                <a:gd name="T110" fmla="*/ 2147483646 w 750"/>
                <a:gd name="T111" fmla="*/ 2147483646 h 643"/>
                <a:gd name="T112" fmla="*/ 2147483646 w 750"/>
                <a:gd name="T113" fmla="*/ 2147483646 h 643"/>
                <a:gd name="T114" fmla="*/ 17694720 60000 65536"/>
                <a:gd name="T115" fmla="*/ 0 60000 65536"/>
                <a:gd name="T116" fmla="*/ 5898240 60000 65536"/>
                <a:gd name="T117" fmla="*/ 1179648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50"/>
                <a:gd name="T172" fmla="*/ 0 h 643"/>
                <a:gd name="T173" fmla="*/ 750 w 750"/>
                <a:gd name="T174" fmla="*/ 643 h 64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50" h="643">
                  <a:moveTo>
                    <a:pt x="700" y="563"/>
                  </a:moveTo>
                  <a:cubicBezTo>
                    <a:pt x="699" y="563"/>
                    <a:pt x="699" y="563"/>
                    <a:pt x="699" y="563"/>
                  </a:cubicBezTo>
                  <a:cubicBezTo>
                    <a:pt x="693" y="573"/>
                    <a:pt x="687" y="583"/>
                    <a:pt x="680" y="592"/>
                  </a:cubicBezTo>
                  <a:cubicBezTo>
                    <a:pt x="679" y="594"/>
                    <a:pt x="677" y="595"/>
                    <a:pt x="675" y="595"/>
                  </a:cubicBezTo>
                  <a:cubicBezTo>
                    <a:pt x="673" y="595"/>
                    <a:pt x="672" y="595"/>
                    <a:pt x="671" y="594"/>
                  </a:cubicBezTo>
                  <a:cubicBezTo>
                    <a:pt x="667" y="592"/>
                    <a:pt x="667" y="587"/>
                    <a:pt x="669" y="584"/>
                  </a:cubicBezTo>
                  <a:cubicBezTo>
                    <a:pt x="674" y="577"/>
                    <a:pt x="679" y="569"/>
                    <a:pt x="684" y="562"/>
                  </a:cubicBezTo>
                  <a:cubicBezTo>
                    <a:pt x="633" y="532"/>
                    <a:pt x="633" y="532"/>
                    <a:pt x="633" y="532"/>
                  </a:cubicBezTo>
                  <a:cubicBezTo>
                    <a:pt x="630" y="530"/>
                    <a:pt x="629" y="526"/>
                    <a:pt x="631" y="523"/>
                  </a:cubicBezTo>
                  <a:cubicBezTo>
                    <a:pt x="633" y="520"/>
                    <a:pt x="637" y="518"/>
                    <a:pt x="640" y="520"/>
                  </a:cubicBezTo>
                  <a:cubicBezTo>
                    <a:pt x="691" y="550"/>
                    <a:pt x="691" y="550"/>
                    <a:pt x="691" y="550"/>
                  </a:cubicBezTo>
                  <a:cubicBezTo>
                    <a:pt x="719" y="498"/>
                    <a:pt x="734" y="441"/>
                    <a:pt x="736" y="382"/>
                  </a:cubicBezTo>
                  <a:cubicBezTo>
                    <a:pt x="677" y="382"/>
                    <a:pt x="677" y="382"/>
                    <a:pt x="677" y="382"/>
                  </a:cubicBezTo>
                  <a:cubicBezTo>
                    <a:pt x="673" y="382"/>
                    <a:pt x="670" y="379"/>
                    <a:pt x="670" y="375"/>
                  </a:cubicBezTo>
                  <a:cubicBezTo>
                    <a:pt x="670" y="371"/>
                    <a:pt x="673" y="368"/>
                    <a:pt x="677" y="368"/>
                  </a:cubicBezTo>
                  <a:cubicBezTo>
                    <a:pt x="736" y="368"/>
                    <a:pt x="736" y="368"/>
                    <a:pt x="736" y="368"/>
                  </a:cubicBezTo>
                  <a:cubicBezTo>
                    <a:pt x="735" y="308"/>
                    <a:pt x="718" y="251"/>
                    <a:pt x="691" y="201"/>
                  </a:cubicBezTo>
                  <a:cubicBezTo>
                    <a:pt x="640" y="230"/>
                    <a:pt x="640" y="230"/>
                    <a:pt x="640" y="230"/>
                  </a:cubicBezTo>
                  <a:cubicBezTo>
                    <a:pt x="639" y="231"/>
                    <a:pt x="638" y="231"/>
                    <a:pt x="637" y="231"/>
                  </a:cubicBezTo>
                  <a:cubicBezTo>
                    <a:pt x="634" y="231"/>
                    <a:pt x="632" y="230"/>
                    <a:pt x="631" y="228"/>
                  </a:cubicBezTo>
                  <a:cubicBezTo>
                    <a:pt x="629" y="224"/>
                    <a:pt x="630" y="220"/>
                    <a:pt x="633" y="218"/>
                  </a:cubicBezTo>
                  <a:cubicBezTo>
                    <a:pt x="684" y="189"/>
                    <a:pt x="684" y="189"/>
                    <a:pt x="684" y="189"/>
                  </a:cubicBezTo>
                  <a:cubicBezTo>
                    <a:pt x="653" y="139"/>
                    <a:pt x="611" y="97"/>
                    <a:pt x="561" y="66"/>
                  </a:cubicBezTo>
                  <a:cubicBezTo>
                    <a:pt x="532" y="117"/>
                    <a:pt x="532" y="117"/>
                    <a:pt x="532" y="117"/>
                  </a:cubicBezTo>
                  <a:cubicBezTo>
                    <a:pt x="531" y="119"/>
                    <a:pt x="528" y="120"/>
                    <a:pt x="526" y="120"/>
                  </a:cubicBezTo>
                  <a:cubicBezTo>
                    <a:pt x="525" y="120"/>
                    <a:pt x="524" y="120"/>
                    <a:pt x="523" y="119"/>
                  </a:cubicBezTo>
                  <a:cubicBezTo>
                    <a:pt x="519" y="118"/>
                    <a:pt x="518" y="113"/>
                    <a:pt x="520" y="110"/>
                  </a:cubicBezTo>
                  <a:cubicBezTo>
                    <a:pt x="549" y="59"/>
                    <a:pt x="549" y="59"/>
                    <a:pt x="549" y="59"/>
                  </a:cubicBezTo>
                  <a:cubicBezTo>
                    <a:pt x="499" y="32"/>
                    <a:pt x="442" y="16"/>
                    <a:pt x="382" y="14"/>
                  </a:cubicBezTo>
                  <a:cubicBezTo>
                    <a:pt x="382" y="73"/>
                    <a:pt x="382" y="73"/>
                    <a:pt x="382" y="73"/>
                  </a:cubicBezTo>
                  <a:cubicBezTo>
                    <a:pt x="382" y="77"/>
                    <a:pt x="379" y="80"/>
                    <a:pt x="375" y="80"/>
                  </a:cubicBezTo>
                  <a:cubicBezTo>
                    <a:pt x="371" y="80"/>
                    <a:pt x="368" y="77"/>
                    <a:pt x="368" y="73"/>
                  </a:cubicBezTo>
                  <a:cubicBezTo>
                    <a:pt x="368" y="14"/>
                    <a:pt x="368" y="14"/>
                    <a:pt x="368" y="14"/>
                  </a:cubicBezTo>
                  <a:cubicBezTo>
                    <a:pt x="307" y="16"/>
                    <a:pt x="250" y="32"/>
                    <a:pt x="201" y="59"/>
                  </a:cubicBezTo>
                  <a:cubicBezTo>
                    <a:pt x="230" y="110"/>
                    <a:pt x="230" y="110"/>
                    <a:pt x="230" y="110"/>
                  </a:cubicBezTo>
                  <a:cubicBezTo>
                    <a:pt x="232" y="113"/>
                    <a:pt x="231" y="118"/>
                    <a:pt x="227" y="119"/>
                  </a:cubicBezTo>
                  <a:cubicBezTo>
                    <a:pt x="226" y="120"/>
                    <a:pt x="225" y="120"/>
                    <a:pt x="224" y="120"/>
                  </a:cubicBezTo>
                  <a:cubicBezTo>
                    <a:pt x="221" y="120"/>
                    <a:pt x="219" y="119"/>
                    <a:pt x="218" y="117"/>
                  </a:cubicBezTo>
                  <a:cubicBezTo>
                    <a:pt x="189" y="66"/>
                    <a:pt x="189" y="66"/>
                    <a:pt x="189" y="66"/>
                  </a:cubicBezTo>
                  <a:cubicBezTo>
                    <a:pt x="139" y="97"/>
                    <a:pt x="96" y="139"/>
                    <a:pt x="66" y="189"/>
                  </a:cubicBezTo>
                  <a:cubicBezTo>
                    <a:pt x="117" y="218"/>
                    <a:pt x="117" y="218"/>
                    <a:pt x="117" y="218"/>
                  </a:cubicBezTo>
                  <a:cubicBezTo>
                    <a:pt x="120" y="220"/>
                    <a:pt x="121" y="224"/>
                    <a:pt x="119" y="228"/>
                  </a:cubicBezTo>
                  <a:cubicBezTo>
                    <a:pt x="118" y="230"/>
                    <a:pt x="116" y="231"/>
                    <a:pt x="113" y="231"/>
                  </a:cubicBezTo>
                  <a:cubicBezTo>
                    <a:pt x="112" y="231"/>
                    <a:pt x="111" y="231"/>
                    <a:pt x="110" y="230"/>
                  </a:cubicBezTo>
                  <a:cubicBezTo>
                    <a:pt x="59" y="201"/>
                    <a:pt x="59" y="201"/>
                    <a:pt x="59" y="201"/>
                  </a:cubicBezTo>
                  <a:cubicBezTo>
                    <a:pt x="32" y="251"/>
                    <a:pt x="15" y="308"/>
                    <a:pt x="14" y="368"/>
                  </a:cubicBezTo>
                  <a:cubicBezTo>
                    <a:pt x="73" y="368"/>
                    <a:pt x="73" y="368"/>
                    <a:pt x="73" y="368"/>
                  </a:cubicBezTo>
                  <a:cubicBezTo>
                    <a:pt x="76" y="368"/>
                    <a:pt x="80" y="371"/>
                    <a:pt x="80" y="375"/>
                  </a:cubicBezTo>
                  <a:cubicBezTo>
                    <a:pt x="80" y="379"/>
                    <a:pt x="76" y="382"/>
                    <a:pt x="73" y="382"/>
                  </a:cubicBezTo>
                  <a:cubicBezTo>
                    <a:pt x="14" y="382"/>
                    <a:pt x="14" y="382"/>
                    <a:pt x="14" y="382"/>
                  </a:cubicBezTo>
                  <a:cubicBezTo>
                    <a:pt x="15" y="441"/>
                    <a:pt x="31" y="498"/>
                    <a:pt x="59" y="550"/>
                  </a:cubicBezTo>
                  <a:cubicBezTo>
                    <a:pt x="110" y="520"/>
                    <a:pt x="110" y="520"/>
                    <a:pt x="110" y="520"/>
                  </a:cubicBezTo>
                  <a:cubicBezTo>
                    <a:pt x="113" y="518"/>
                    <a:pt x="117" y="520"/>
                    <a:pt x="119" y="523"/>
                  </a:cubicBezTo>
                  <a:cubicBezTo>
                    <a:pt x="121" y="526"/>
                    <a:pt x="120" y="530"/>
                    <a:pt x="117" y="532"/>
                  </a:cubicBezTo>
                  <a:cubicBezTo>
                    <a:pt x="66" y="562"/>
                    <a:pt x="66" y="562"/>
                    <a:pt x="66" y="562"/>
                  </a:cubicBezTo>
                  <a:cubicBezTo>
                    <a:pt x="71" y="569"/>
                    <a:pt x="76" y="577"/>
                    <a:pt x="81" y="584"/>
                  </a:cubicBezTo>
                  <a:cubicBezTo>
                    <a:pt x="83" y="587"/>
                    <a:pt x="82" y="592"/>
                    <a:pt x="79" y="594"/>
                  </a:cubicBezTo>
                  <a:cubicBezTo>
                    <a:pt x="76" y="596"/>
                    <a:pt x="72" y="595"/>
                    <a:pt x="69" y="592"/>
                  </a:cubicBezTo>
                  <a:cubicBezTo>
                    <a:pt x="63" y="583"/>
                    <a:pt x="56" y="573"/>
                    <a:pt x="51" y="563"/>
                  </a:cubicBezTo>
                  <a:cubicBezTo>
                    <a:pt x="51" y="563"/>
                    <a:pt x="50" y="563"/>
                    <a:pt x="50" y="563"/>
                  </a:cubicBezTo>
                  <a:cubicBezTo>
                    <a:pt x="50" y="562"/>
                    <a:pt x="50" y="562"/>
                    <a:pt x="50" y="562"/>
                  </a:cubicBezTo>
                  <a:cubicBezTo>
                    <a:pt x="17" y="505"/>
                    <a:pt x="0" y="441"/>
                    <a:pt x="0" y="375"/>
                  </a:cubicBezTo>
                  <a:cubicBezTo>
                    <a:pt x="0" y="307"/>
                    <a:pt x="18" y="244"/>
                    <a:pt x="50" y="189"/>
                  </a:cubicBezTo>
                  <a:cubicBezTo>
                    <a:pt x="50" y="189"/>
                    <a:pt x="50" y="188"/>
                    <a:pt x="50" y="188"/>
                  </a:cubicBezTo>
                  <a:cubicBezTo>
                    <a:pt x="51" y="187"/>
                    <a:pt x="51" y="187"/>
                    <a:pt x="51" y="187"/>
                  </a:cubicBezTo>
                  <a:cubicBezTo>
                    <a:pt x="84" y="131"/>
                    <a:pt x="130" y="84"/>
                    <a:pt x="186" y="51"/>
                  </a:cubicBezTo>
                  <a:cubicBezTo>
                    <a:pt x="187" y="51"/>
                    <a:pt x="187" y="51"/>
                    <a:pt x="187" y="51"/>
                  </a:cubicBezTo>
                  <a:cubicBezTo>
                    <a:pt x="188" y="50"/>
                    <a:pt x="188" y="50"/>
                    <a:pt x="189" y="50"/>
                  </a:cubicBezTo>
                  <a:cubicBezTo>
                    <a:pt x="244" y="18"/>
                    <a:pt x="307" y="0"/>
                    <a:pt x="375" y="0"/>
                  </a:cubicBezTo>
                  <a:cubicBezTo>
                    <a:pt x="443" y="0"/>
                    <a:pt x="506" y="18"/>
                    <a:pt x="561" y="50"/>
                  </a:cubicBezTo>
                  <a:cubicBezTo>
                    <a:pt x="562" y="50"/>
                    <a:pt x="562" y="50"/>
                    <a:pt x="562" y="51"/>
                  </a:cubicBezTo>
                  <a:cubicBezTo>
                    <a:pt x="563" y="51"/>
                    <a:pt x="563" y="51"/>
                    <a:pt x="564" y="51"/>
                  </a:cubicBezTo>
                  <a:cubicBezTo>
                    <a:pt x="619" y="84"/>
                    <a:pt x="666" y="131"/>
                    <a:pt x="699" y="187"/>
                  </a:cubicBezTo>
                  <a:cubicBezTo>
                    <a:pt x="699" y="187"/>
                    <a:pt x="699" y="187"/>
                    <a:pt x="700" y="188"/>
                  </a:cubicBezTo>
                  <a:cubicBezTo>
                    <a:pt x="700" y="188"/>
                    <a:pt x="700" y="189"/>
                    <a:pt x="700" y="189"/>
                  </a:cubicBezTo>
                  <a:cubicBezTo>
                    <a:pt x="732" y="244"/>
                    <a:pt x="750" y="307"/>
                    <a:pt x="750" y="375"/>
                  </a:cubicBezTo>
                  <a:cubicBezTo>
                    <a:pt x="750" y="441"/>
                    <a:pt x="733" y="505"/>
                    <a:pt x="700" y="562"/>
                  </a:cubicBezTo>
                  <a:cubicBezTo>
                    <a:pt x="700" y="562"/>
                    <a:pt x="700" y="562"/>
                    <a:pt x="700" y="563"/>
                  </a:cubicBezTo>
                  <a:close/>
                  <a:moveTo>
                    <a:pt x="533" y="560"/>
                  </a:moveTo>
                  <a:cubicBezTo>
                    <a:pt x="533" y="636"/>
                    <a:pt x="533" y="636"/>
                    <a:pt x="533" y="636"/>
                  </a:cubicBezTo>
                  <a:cubicBezTo>
                    <a:pt x="533" y="640"/>
                    <a:pt x="530" y="643"/>
                    <a:pt x="526" y="643"/>
                  </a:cubicBezTo>
                  <a:cubicBezTo>
                    <a:pt x="224" y="643"/>
                    <a:pt x="224" y="643"/>
                    <a:pt x="224" y="643"/>
                  </a:cubicBezTo>
                  <a:cubicBezTo>
                    <a:pt x="220" y="643"/>
                    <a:pt x="217" y="640"/>
                    <a:pt x="217" y="636"/>
                  </a:cubicBezTo>
                  <a:cubicBezTo>
                    <a:pt x="217" y="560"/>
                    <a:pt x="217" y="560"/>
                    <a:pt x="217" y="560"/>
                  </a:cubicBezTo>
                  <a:cubicBezTo>
                    <a:pt x="217" y="556"/>
                    <a:pt x="220" y="553"/>
                    <a:pt x="224" y="553"/>
                  </a:cubicBezTo>
                  <a:cubicBezTo>
                    <a:pt x="526" y="553"/>
                    <a:pt x="526" y="553"/>
                    <a:pt x="526" y="553"/>
                  </a:cubicBezTo>
                  <a:cubicBezTo>
                    <a:pt x="530" y="553"/>
                    <a:pt x="533" y="556"/>
                    <a:pt x="533" y="560"/>
                  </a:cubicBezTo>
                  <a:close/>
                  <a:moveTo>
                    <a:pt x="519" y="567"/>
                  </a:moveTo>
                  <a:cubicBezTo>
                    <a:pt x="231" y="567"/>
                    <a:pt x="231" y="567"/>
                    <a:pt x="231" y="567"/>
                  </a:cubicBezTo>
                  <a:cubicBezTo>
                    <a:pt x="231" y="629"/>
                    <a:pt x="231" y="629"/>
                    <a:pt x="231" y="629"/>
                  </a:cubicBezTo>
                  <a:cubicBezTo>
                    <a:pt x="519" y="629"/>
                    <a:pt x="519" y="629"/>
                    <a:pt x="519" y="629"/>
                  </a:cubicBezTo>
                  <a:lnTo>
                    <a:pt x="519" y="567"/>
                  </a:lnTo>
                  <a:close/>
                  <a:moveTo>
                    <a:pt x="579" y="257"/>
                  </a:moveTo>
                  <a:cubicBezTo>
                    <a:pt x="581" y="261"/>
                    <a:pt x="580" y="265"/>
                    <a:pt x="577" y="267"/>
                  </a:cubicBezTo>
                  <a:cubicBezTo>
                    <a:pt x="442" y="344"/>
                    <a:pt x="442" y="344"/>
                    <a:pt x="442" y="344"/>
                  </a:cubicBezTo>
                  <a:cubicBezTo>
                    <a:pt x="447" y="354"/>
                    <a:pt x="449" y="364"/>
                    <a:pt x="449" y="375"/>
                  </a:cubicBezTo>
                  <a:cubicBezTo>
                    <a:pt x="449" y="416"/>
                    <a:pt x="416" y="449"/>
                    <a:pt x="375" y="449"/>
                  </a:cubicBezTo>
                  <a:cubicBezTo>
                    <a:pt x="334" y="449"/>
                    <a:pt x="301" y="416"/>
                    <a:pt x="301" y="375"/>
                  </a:cubicBezTo>
                  <a:cubicBezTo>
                    <a:pt x="301" y="334"/>
                    <a:pt x="334" y="301"/>
                    <a:pt x="375" y="301"/>
                  </a:cubicBezTo>
                  <a:cubicBezTo>
                    <a:pt x="400" y="301"/>
                    <a:pt x="422" y="313"/>
                    <a:pt x="435" y="332"/>
                  </a:cubicBezTo>
                  <a:cubicBezTo>
                    <a:pt x="570" y="255"/>
                    <a:pt x="570" y="255"/>
                    <a:pt x="570" y="255"/>
                  </a:cubicBezTo>
                  <a:cubicBezTo>
                    <a:pt x="573" y="253"/>
                    <a:pt x="577" y="254"/>
                    <a:pt x="579" y="257"/>
                  </a:cubicBezTo>
                  <a:close/>
                  <a:moveTo>
                    <a:pt x="435" y="375"/>
                  </a:moveTo>
                  <a:cubicBezTo>
                    <a:pt x="435" y="342"/>
                    <a:pt x="408" y="315"/>
                    <a:pt x="375" y="315"/>
                  </a:cubicBezTo>
                  <a:cubicBezTo>
                    <a:pt x="342" y="315"/>
                    <a:pt x="315" y="342"/>
                    <a:pt x="315" y="375"/>
                  </a:cubicBezTo>
                  <a:cubicBezTo>
                    <a:pt x="315" y="408"/>
                    <a:pt x="342" y="435"/>
                    <a:pt x="375" y="435"/>
                  </a:cubicBezTo>
                  <a:cubicBezTo>
                    <a:pt x="408" y="435"/>
                    <a:pt x="435" y="408"/>
                    <a:pt x="435" y="375"/>
                  </a:cubicBezTo>
                  <a:close/>
                </a:path>
              </a:pathLst>
            </a:custGeom>
            <a:solidFill>
              <a:srgbClr val="008000"/>
            </a:solidFill>
            <a:ln w="9528" cap="flat">
              <a:solidFill>
                <a:srgbClr val="92D050"/>
              </a:solidFill>
              <a:prstDash val="solid"/>
              <a:round/>
              <a:headEnd/>
              <a:tailEnd/>
            </a:ln>
          </p:spPr>
          <p:txBody>
            <a:bodyPr lIns="68580" tIns="34290" rIns="68580" bIns="34290"/>
            <a:lstStyle/>
            <a:p>
              <a:endParaRPr lang="it-IT"/>
            </a:p>
          </p:txBody>
        </p:sp>
      </p:grpSp>
      <p:grpSp>
        <p:nvGrpSpPr>
          <p:cNvPr id="134164" name="Gruppo 86">
            <a:extLst>
              <a:ext uri="{FF2B5EF4-FFF2-40B4-BE49-F238E27FC236}">
                <a16:creationId xmlns:a16="http://schemas.microsoft.com/office/drawing/2014/main" id="{B9317158-EBDD-DE49-B2C5-A71038FA5E11}"/>
              </a:ext>
            </a:extLst>
          </p:cNvPr>
          <p:cNvGrpSpPr>
            <a:grpSpLocks/>
          </p:cNvGrpSpPr>
          <p:nvPr/>
        </p:nvGrpSpPr>
        <p:grpSpPr bwMode="auto">
          <a:xfrm>
            <a:off x="7975601" y="2216150"/>
            <a:ext cx="485775" cy="488950"/>
            <a:chOff x="6451604" y="2216148"/>
            <a:chExt cx="485775" cy="488947"/>
          </a:xfrm>
        </p:grpSpPr>
        <p:sp>
          <p:nvSpPr>
            <p:cNvPr id="134165" name="Ovale 87">
              <a:extLst>
                <a:ext uri="{FF2B5EF4-FFF2-40B4-BE49-F238E27FC236}">
                  <a16:creationId xmlns:a16="http://schemas.microsoft.com/office/drawing/2014/main" id="{908EC46D-00D1-6E4A-BC3B-F7396C3F61EF}"/>
                </a:ext>
              </a:extLst>
            </p:cNvPr>
            <p:cNvSpPr>
              <a:spLocks/>
            </p:cNvSpPr>
            <p:nvPr/>
          </p:nvSpPr>
          <p:spPr bwMode="auto">
            <a:xfrm>
              <a:off x="6451604" y="2216148"/>
              <a:ext cx="485775" cy="488947"/>
            </a:xfrm>
            <a:custGeom>
              <a:avLst/>
              <a:gdLst>
                <a:gd name="T0" fmla="*/ 242888 w 485775"/>
                <a:gd name="T1" fmla="*/ 0 h 488947"/>
                <a:gd name="T2" fmla="*/ 485775 w 485775"/>
                <a:gd name="T3" fmla="*/ 244474 h 488947"/>
                <a:gd name="T4" fmla="*/ 242888 w 485775"/>
                <a:gd name="T5" fmla="*/ 488947 h 488947"/>
                <a:gd name="T6" fmla="*/ 0 w 485775"/>
                <a:gd name="T7" fmla="*/ 244474 h 488947"/>
                <a:gd name="T8" fmla="*/ 71140 w 485775"/>
                <a:gd name="T9" fmla="*/ 71605 h 488947"/>
                <a:gd name="T10" fmla="*/ 71140 w 485775"/>
                <a:gd name="T11" fmla="*/ 417342 h 488947"/>
                <a:gd name="T12" fmla="*/ 414635 w 485775"/>
                <a:gd name="T13" fmla="*/ 417342 h 488947"/>
                <a:gd name="T14" fmla="*/ 414635 w 485775"/>
                <a:gd name="T15" fmla="*/ 71605 h 488947"/>
                <a:gd name="T16" fmla="*/ 17694720 60000 65536"/>
                <a:gd name="T17" fmla="*/ 0 60000 65536"/>
                <a:gd name="T18" fmla="*/ 5898240 60000 65536"/>
                <a:gd name="T19" fmla="*/ 11796480 60000 65536"/>
                <a:gd name="T20" fmla="*/ 17694720 60000 65536"/>
                <a:gd name="T21" fmla="*/ 5898240 60000 65536"/>
                <a:gd name="T22" fmla="*/ 5898240 60000 65536"/>
                <a:gd name="T23" fmla="*/ 17694720 60000 65536"/>
                <a:gd name="T24" fmla="*/ 71140 w 485775"/>
                <a:gd name="T25" fmla="*/ 71605 h 488947"/>
                <a:gd name="T26" fmla="*/ 414635 w 485775"/>
                <a:gd name="T27" fmla="*/ 417342 h 4889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85775" h="488947">
                  <a:moveTo>
                    <a:pt x="0" y="244474"/>
                  </a:moveTo>
                  <a:lnTo>
                    <a:pt x="0" y="244474"/>
                  </a:lnTo>
                  <a:cubicBezTo>
                    <a:pt x="0" y="379493"/>
                    <a:pt x="108744" y="488948"/>
                    <a:pt x="242888" y="488948"/>
                  </a:cubicBezTo>
                  <a:cubicBezTo>
                    <a:pt x="377031" y="488948"/>
                    <a:pt x="485776" y="379493"/>
                    <a:pt x="485776" y="244474"/>
                  </a:cubicBezTo>
                  <a:cubicBezTo>
                    <a:pt x="485776" y="109454"/>
                    <a:pt x="377031" y="0"/>
                    <a:pt x="242888" y="0"/>
                  </a:cubicBezTo>
                  <a:cubicBezTo>
                    <a:pt x="108744" y="0"/>
                    <a:pt x="0" y="109454"/>
                    <a:pt x="0" y="244473"/>
                  </a:cubicBezTo>
                  <a:lnTo>
                    <a:pt x="0" y="244474"/>
                  </a:lnTo>
                  <a:close/>
                </a:path>
              </a:pathLst>
            </a:custGeom>
            <a:solidFill>
              <a:srgbClr val="FFFFFF"/>
            </a:solidFill>
            <a:ln w="25402" cap="flat">
              <a:solidFill>
                <a:srgbClr val="F39901"/>
              </a:solidFill>
              <a:prstDash val="solid"/>
              <a:miter lim="800000"/>
              <a:headEnd/>
              <a:tailEnd/>
            </a:ln>
          </p:spPr>
          <p:txBody>
            <a:bodyPr anchor="ctr" anchorCtr="1"/>
            <a:lstStyle/>
            <a:p>
              <a:endParaRPr lang="it-IT"/>
            </a:p>
          </p:txBody>
        </p:sp>
        <p:sp>
          <p:nvSpPr>
            <p:cNvPr id="134166" name="Freeform 86">
              <a:extLst>
                <a:ext uri="{FF2B5EF4-FFF2-40B4-BE49-F238E27FC236}">
                  <a16:creationId xmlns:a16="http://schemas.microsoft.com/office/drawing/2014/main" id="{1A0BCF71-B2A3-9049-863A-B5E470CD273C}"/>
                </a:ext>
              </a:extLst>
            </p:cNvPr>
            <p:cNvSpPr>
              <a:spLocks/>
            </p:cNvSpPr>
            <p:nvPr/>
          </p:nvSpPr>
          <p:spPr bwMode="auto">
            <a:xfrm>
              <a:off x="6567485" y="2308229"/>
              <a:ext cx="222254" cy="246065"/>
            </a:xfrm>
            <a:custGeom>
              <a:avLst/>
              <a:gdLst>
                <a:gd name="T0" fmla="*/ 42953774 w 575"/>
                <a:gd name="T1" fmla="*/ 0 h 639"/>
                <a:gd name="T2" fmla="*/ 85907549 w 575"/>
                <a:gd name="T3" fmla="*/ 47377332 h 639"/>
                <a:gd name="T4" fmla="*/ 42953774 w 575"/>
                <a:gd name="T5" fmla="*/ 94754279 h 639"/>
                <a:gd name="T6" fmla="*/ 0 w 575"/>
                <a:gd name="T7" fmla="*/ 47377332 h 639"/>
                <a:gd name="T8" fmla="*/ 2147483646 w 575"/>
                <a:gd name="T9" fmla="*/ 2147483646 h 639"/>
                <a:gd name="T10" fmla="*/ 2147483646 w 575"/>
                <a:gd name="T11" fmla="*/ 2147483646 h 639"/>
                <a:gd name="T12" fmla="*/ 2147483646 w 575"/>
                <a:gd name="T13" fmla="*/ 2147483646 h 639"/>
                <a:gd name="T14" fmla="*/ 2147483646 w 575"/>
                <a:gd name="T15" fmla="*/ 2147483646 h 639"/>
                <a:gd name="T16" fmla="*/ 2147483646 w 575"/>
                <a:gd name="T17" fmla="*/ 2147483646 h 639"/>
                <a:gd name="T18" fmla="*/ 2147483646 w 575"/>
                <a:gd name="T19" fmla="*/ 2147483646 h 639"/>
                <a:gd name="T20" fmla="*/ 2147483646 w 575"/>
                <a:gd name="T21" fmla="*/ 2147483646 h 639"/>
                <a:gd name="T22" fmla="*/ 2147483646 w 575"/>
                <a:gd name="T23" fmla="*/ 2147483646 h 639"/>
                <a:gd name="T24" fmla="*/ 2147483646 w 575"/>
                <a:gd name="T25" fmla="*/ 2147483646 h 639"/>
                <a:gd name="T26" fmla="*/ 2147483646 w 575"/>
                <a:gd name="T27" fmla="*/ 2147483646 h 639"/>
                <a:gd name="T28" fmla="*/ 2147483646 w 575"/>
                <a:gd name="T29" fmla="*/ 2147483646 h 639"/>
                <a:gd name="T30" fmla="*/ 2147483646 w 575"/>
                <a:gd name="T31" fmla="*/ 2147483646 h 639"/>
                <a:gd name="T32" fmla="*/ 2147483646 w 575"/>
                <a:gd name="T33" fmla="*/ 2147483646 h 639"/>
                <a:gd name="T34" fmla="*/ 2147483646 w 575"/>
                <a:gd name="T35" fmla="*/ 2147483646 h 639"/>
                <a:gd name="T36" fmla="*/ 2147483646 w 575"/>
                <a:gd name="T37" fmla="*/ 2147483646 h 639"/>
                <a:gd name="T38" fmla="*/ 2147483646 w 575"/>
                <a:gd name="T39" fmla="*/ 2147483646 h 639"/>
                <a:gd name="T40" fmla="*/ 2147483646 w 575"/>
                <a:gd name="T41" fmla="*/ 2147483646 h 639"/>
                <a:gd name="T42" fmla="*/ 2147483646 w 575"/>
                <a:gd name="T43" fmla="*/ 0 h 639"/>
                <a:gd name="T44" fmla="*/ 2147483646 w 575"/>
                <a:gd name="T45" fmla="*/ 2147483646 h 639"/>
                <a:gd name="T46" fmla="*/ 2147483646 w 575"/>
                <a:gd name="T47" fmla="*/ 2147483646 h 639"/>
                <a:gd name="T48" fmla="*/ 2147483646 w 575"/>
                <a:gd name="T49" fmla="*/ 2147483646 h 639"/>
                <a:gd name="T50" fmla="*/ 2147483646 w 575"/>
                <a:gd name="T51" fmla="*/ 2147483646 h 639"/>
                <a:gd name="T52" fmla="*/ 2147483646 w 575"/>
                <a:gd name="T53" fmla="*/ 2147483646 h 639"/>
                <a:gd name="T54" fmla="*/ 2147483646 w 575"/>
                <a:gd name="T55" fmla="*/ 2147483646 h 639"/>
                <a:gd name="T56" fmla="*/ 2147483646 w 575"/>
                <a:gd name="T57" fmla="*/ 2147483646 h 639"/>
                <a:gd name="T58" fmla="*/ 2147483646 w 575"/>
                <a:gd name="T59" fmla="*/ 2147483646 h 639"/>
                <a:gd name="T60" fmla="*/ 2147483646 w 575"/>
                <a:gd name="T61" fmla="*/ 2147483646 h 639"/>
                <a:gd name="T62" fmla="*/ 2147483646 w 575"/>
                <a:gd name="T63" fmla="*/ 2147483646 h 639"/>
                <a:gd name="T64" fmla="*/ 2147483646 w 575"/>
                <a:gd name="T65" fmla="*/ 2147483646 h 639"/>
                <a:gd name="T66" fmla="*/ 2147483646 w 575"/>
                <a:gd name="T67" fmla="*/ 2147483646 h 639"/>
                <a:gd name="T68" fmla="*/ 2147483646 w 575"/>
                <a:gd name="T69" fmla="*/ 2147483646 h 639"/>
                <a:gd name="T70" fmla="*/ 2147483646 w 575"/>
                <a:gd name="T71" fmla="*/ 2147483646 h 639"/>
                <a:gd name="T72" fmla="*/ 2147483646 w 575"/>
                <a:gd name="T73" fmla="*/ 2147483646 h 639"/>
                <a:gd name="T74" fmla="*/ 2147483646 w 575"/>
                <a:gd name="T75" fmla="*/ 2147483646 h 639"/>
                <a:gd name="T76" fmla="*/ 17694720 60000 65536"/>
                <a:gd name="T77" fmla="*/ 0 60000 65536"/>
                <a:gd name="T78" fmla="*/ 5898240 60000 65536"/>
                <a:gd name="T79" fmla="*/ 1179648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75"/>
                <a:gd name="T115" fmla="*/ 0 h 639"/>
                <a:gd name="T116" fmla="*/ 575 w 575"/>
                <a:gd name="T117" fmla="*/ 639 h 63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75" h="639">
                  <a:moveTo>
                    <a:pt x="369" y="639"/>
                  </a:moveTo>
                  <a:cubicBezTo>
                    <a:pt x="208" y="639"/>
                    <a:pt x="208" y="639"/>
                    <a:pt x="208" y="639"/>
                  </a:cubicBezTo>
                  <a:cubicBezTo>
                    <a:pt x="205" y="639"/>
                    <a:pt x="201" y="636"/>
                    <a:pt x="201" y="632"/>
                  </a:cubicBezTo>
                  <a:cubicBezTo>
                    <a:pt x="201" y="373"/>
                    <a:pt x="201" y="373"/>
                    <a:pt x="201" y="373"/>
                  </a:cubicBezTo>
                  <a:cubicBezTo>
                    <a:pt x="201" y="369"/>
                    <a:pt x="205" y="366"/>
                    <a:pt x="208" y="366"/>
                  </a:cubicBezTo>
                  <a:cubicBezTo>
                    <a:pt x="369" y="366"/>
                    <a:pt x="369" y="366"/>
                    <a:pt x="369" y="366"/>
                  </a:cubicBezTo>
                  <a:cubicBezTo>
                    <a:pt x="373" y="366"/>
                    <a:pt x="376" y="369"/>
                    <a:pt x="376" y="373"/>
                  </a:cubicBezTo>
                  <a:cubicBezTo>
                    <a:pt x="376" y="632"/>
                    <a:pt x="376" y="632"/>
                    <a:pt x="376" y="632"/>
                  </a:cubicBezTo>
                  <a:cubicBezTo>
                    <a:pt x="376" y="636"/>
                    <a:pt x="373" y="639"/>
                    <a:pt x="369" y="639"/>
                  </a:cubicBezTo>
                  <a:close/>
                  <a:moveTo>
                    <a:pt x="215" y="625"/>
                  </a:moveTo>
                  <a:cubicBezTo>
                    <a:pt x="362" y="625"/>
                    <a:pt x="362" y="625"/>
                    <a:pt x="362" y="625"/>
                  </a:cubicBezTo>
                  <a:cubicBezTo>
                    <a:pt x="362" y="380"/>
                    <a:pt x="362" y="380"/>
                    <a:pt x="362" y="380"/>
                  </a:cubicBezTo>
                  <a:cubicBezTo>
                    <a:pt x="215" y="380"/>
                    <a:pt x="215" y="380"/>
                    <a:pt x="215" y="380"/>
                  </a:cubicBezTo>
                  <a:lnTo>
                    <a:pt x="215" y="625"/>
                  </a:lnTo>
                  <a:close/>
                  <a:moveTo>
                    <a:pt x="170" y="639"/>
                  </a:moveTo>
                  <a:cubicBezTo>
                    <a:pt x="10" y="639"/>
                    <a:pt x="10" y="639"/>
                    <a:pt x="10" y="639"/>
                  </a:cubicBezTo>
                  <a:cubicBezTo>
                    <a:pt x="6" y="639"/>
                    <a:pt x="3" y="636"/>
                    <a:pt x="3" y="632"/>
                  </a:cubicBezTo>
                  <a:cubicBezTo>
                    <a:pt x="3" y="503"/>
                    <a:pt x="3" y="503"/>
                    <a:pt x="3" y="503"/>
                  </a:cubicBezTo>
                  <a:cubicBezTo>
                    <a:pt x="3" y="499"/>
                    <a:pt x="6" y="496"/>
                    <a:pt x="10" y="496"/>
                  </a:cubicBezTo>
                  <a:cubicBezTo>
                    <a:pt x="170" y="496"/>
                    <a:pt x="170" y="496"/>
                    <a:pt x="170" y="496"/>
                  </a:cubicBezTo>
                  <a:cubicBezTo>
                    <a:pt x="174" y="496"/>
                    <a:pt x="177" y="499"/>
                    <a:pt x="177" y="503"/>
                  </a:cubicBezTo>
                  <a:cubicBezTo>
                    <a:pt x="177" y="632"/>
                    <a:pt x="177" y="632"/>
                    <a:pt x="177" y="632"/>
                  </a:cubicBezTo>
                  <a:cubicBezTo>
                    <a:pt x="177" y="636"/>
                    <a:pt x="174" y="639"/>
                    <a:pt x="170" y="639"/>
                  </a:cubicBezTo>
                  <a:close/>
                  <a:moveTo>
                    <a:pt x="17" y="625"/>
                  </a:moveTo>
                  <a:cubicBezTo>
                    <a:pt x="163" y="625"/>
                    <a:pt x="163" y="625"/>
                    <a:pt x="163" y="625"/>
                  </a:cubicBezTo>
                  <a:cubicBezTo>
                    <a:pt x="163" y="510"/>
                    <a:pt x="163" y="510"/>
                    <a:pt x="163" y="510"/>
                  </a:cubicBezTo>
                  <a:cubicBezTo>
                    <a:pt x="17" y="510"/>
                    <a:pt x="17" y="510"/>
                    <a:pt x="17" y="510"/>
                  </a:cubicBezTo>
                  <a:lnTo>
                    <a:pt x="17" y="625"/>
                  </a:lnTo>
                  <a:close/>
                  <a:moveTo>
                    <a:pt x="19" y="418"/>
                  </a:moveTo>
                  <a:cubicBezTo>
                    <a:pt x="14" y="418"/>
                    <a:pt x="9" y="416"/>
                    <a:pt x="5" y="411"/>
                  </a:cubicBezTo>
                  <a:cubicBezTo>
                    <a:pt x="0" y="404"/>
                    <a:pt x="0" y="395"/>
                    <a:pt x="5" y="388"/>
                  </a:cubicBezTo>
                  <a:cubicBezTo>
                    <a:pt x="292" y="47"/>
                    <a:pt x="292" y="47"/>
                    <a:pt x="292" y="47"/>
                  </a:cubicBezTo>
                  <a:cubicBezTo>
                    <a:pt x="257" y="12"/>
                    <a:pt x="257" y="12"/>
                    <a:pt x="257" y="12"/>
                  </a:cubicBezTo>
                  <a:cubicBezTo>
                    <a:pt x="255" y="10"/>
                    <a:pt x="255" y="7"/>
                    <a:pt x="256" y="4"/>
                  </a:cubicBezTo>
                  <a:cubicBezTo>
                    <a:pt x="257" y="1"/>
                    <a:pt x="260" y="0"/>
                    <a:pt x="262" y="0"/>
                  </a:cubicBezTo>
                  <a:cubicBezTo>
                    <a:pt x="417" y="0"/>
                    <a:pt x="417" y="0"/>
                    <a:pt x="417" y="0"/>
                  </a:cubicBezTo>
                  <a:cubicBezTo>
                    <a:pt x="421" y="0"/>
                    <a:pt x="424" y="3"/>
                    <a:pt x="424" y="7"/>
                  </a:cubicBezTo>
                  <a:cubicBezTo>
                    <a:pt x="424" y="163"/>
                    <a:pt x="424" y="163"/>
                    <a:pt x="424" y="163"/>
                  </a:cubicBezTo>
                  <a:cubicBezTo>
                    <a:pt x="424" y="166"/>
                    <a:pt x="423" y="168"/>
                    <a:pt x="420" y="169"/>
                  </a:cubicBezTo>
                  <a:cubicBezTo>
                    <a:pt x="417" y="170"/>
                    <a:pt x="414" y="170"/>
                    <a:pt x="412" y="168"/>
                  </a:cubicBezTo>
                  <a:cubicBezTo>
                    <a:pt x="377" y="133"/>
                    <a:pt x="377" y="133"/>
                    <a:pt x="377" y="133"/>
                  </a:cubicBezTo>
                  <a:cubicBezTo>
                    <a:pt x="31" y="414"/>
                    <a:pt x="31" y="414"/>
                    <a:pt x="31" y="414"/>
                  </a:cubicBezTo>
                  <a:cubicBezTo>
                    <a:pt x="28" y="417"/>
                    <a:pt x="24" y="418"/>
                    <a:pt x="19" y="418"/>
                  </a:cubicBezTo>
                  <a:close/>
                  <a:moveTo>
                    <a:pt x="279" y="14"/>
                  </a:moveTo>
                  <a:cubicBezTo>
                    <a:pt x="307" y="41"/>
                    <a:pt x="307" y="41"/>
                    <a:pt x="307" y="41"/>
                  </a:cubicBezTo>
                  <a:cubicBezTo>
                    <a:pt x="309" y="44"/>
                    <a:pt x="309" y="48"/>
                    <a:pt x="307" y="51"/>
                  </a:cubicBezTo>
                  <a:cubicBezTo>
                    <a:pt x="16" y="397"/>
                    <a:pt x="16" y="397"/>
                    <a:pt x="16" y="397"/>
                  </a:cubicBezTo>
                  <a:cubicBezTo>
                    <a:pt x="15" y="399"/>
                    <a:pt x="15" y="401"/>
                    <a:pt x="16" y="402"/>
                  </a:cubicBezTo>
                  <a:cubicBezTo>
                    <a:pt x="17" y="404"/>
                    <a:pt x="18" y="404"/>
                    <a:pt x="19" y="404"/>
                  </a:cubicBezTo>
                  <a:cubicBezTo>
                    <a:pt x="20" y="404"/>
                    <a:pt x="21" y="404"/>
                    <a:pt x="22" y="403"/>
                  </a:cubicBezTo>
                  <a:cubicBezTo>
                    <a:pt x="373" y="118"/>
                    <a:pt x="373" y="118"/>
                    <a:pt x="373" y="118"/>
                  </a:cubicBezTo>
                  <a:cubicBezTo>
                    <a:pt x="376" y="115"/>
                    <a:pt x="380" y="116"/>
                    <a:pt x="383" y="118"/>
                  </a:cubicBezTo>
                  <a:cubicBezTo>
                    <a:pt x="410" y="146"/>
                    <a:pt x="410" y="146"/>
                    <a:pt x="410" y="146"/>
                  </a:cubicBezTo>
                  <a:cubicBezTo>
                    <a:pt x="410" y="14"/>
                    <a:pt x="410" y="14"/>
                    <a:pt x="410" y="14"/>
                  </a:cubicBezTo>
                  <a:lnTo>
                    <a:pt x="279" y="14"/>
                  </a:lnTo>
                  <a:close/>
                  <a:moveTo>
                    <a:pt x="568" y="639"/>
                  </a:moveTo>
                  <a:cubicBezTo>
                    <a:pt x="407" y="639"/>
                    <a:pt x="407" y="639"/>
                    <a:pt x="407" y="639"/>
                  </a:cubicBezTo>
                  <a:cubicBezTo>
                    <a:pt x="403" y="639"/>
                    <a:pt x="400" y="636"/>
                    <a:pt x="400" y="632"/>
                  </a:cubicBezTo>
                  <a:cubicBezTo>
                    <a:pt x="400" y="245"/>
                    <a:pt x="400" y="245"/>
                    <a:pt x="400" y="245"/>
                  </a:cubicBezTo>
                  <a:cubicBezTo>
                    <a:pt x="400" y="241"/>
                    <a:pt x="403" y="238"/>
                    <a:pt x="407" y="238"/>
                  </a:cubicBezTo>
                  <a:cubicBezTo>
                    <a:pt x="568" y="238"/>
                    <a:pt x="568" y="238"/>
                    <a:pt x="568" y="238"/>
                  </a:cubicBezTo>
                  <a:cubicBezTo>
                    <a:pt x="572" y="238"/>
                    <a:pt x="575" y="241"/>
                    <a:pt x="575" y="245"/>
                  </a:cubicBezTo>
                  <a:cubicBezTo>
                    <a:pt x="575" y="632"/>
                    <a:pt x="575" y="632"/>
                    <a:pt x="575" y="632"/>
                  </a:cubicBezTo>
                  <a:cubicBezTo>
                    <a:pt x="575" y="636"/>
                    <a:pt x="572" y="639"/>
                    <a:pt x="568" y="639"/>
                  </a:cubicBezTo>
                  <a:close/>
                  <a:moveTo>
                    <a:pt x="414" y="625"/>
                  </a:moveTo>
                  <a:cubicBezTo>
                    <a:pt x="561" y="625"/>
                    <a:pt x="561" y="625"/>
                    <a:pt x="561" y="625"/>
                  </a:cubicBezTo>
                  <a:cubicBezTo>
                    <a:pt x="561" y="252"/>
                    <a:pt x="561" y="252"/>
                    <a:pt x="561" y="252"/>
                  </a:cubicBezTo>
                  <a:cubicBezTo>
                    <a:pt x="414" y="252"/>
                    <a:pt x="414" y="252"/>
                    <a:pt x="414" y="252"/>
                  </a:cubicBezTo>
                  <a:lnTo>
                    <a:pt x="414" y="625"/>
                  </a:lnTo>
                  <a:close/>
                </a:path>
              </a:pathLst>
            </a:custGeom>
            <a:solidFill>
              <a:srgbClr val="FFFFFF"/>
            </a:solidFill>
            <a:ln w="9528" cap="flat">
              <a:solidFill>
                <a:srgbClr val="F39901"/>
              </a:solidFill>
              <a:prstDash val="solid"/>
              <a:round/>
              <a:headEnd/>
              <a:tailEnd/>
            </a:ln>
          </p:spPr>
          <p:txBody>
            <a:bodyPr lIns="68580" tIns="34290" rIns="68580" bIns="34290"/>
            <a:lstStyle/>
            <a:p>
              <a:endParaRPr lang="it-IT"/>
            </a:p>
          </p:txBody>
        </p:sp>
      </p:grpSp>
    </p:spTree>
    <p:extLst>
      <p:ext uri="{BB962C8B-B14F-4D97-AF65-F5344CB8AC3E}">
        <p14:creationId xmlns:p14="http://schemas.microsoft.com/office/powerpoint/2010/main" val="11141940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smtClean="0"/>
              <a:t>Studi FARMACOEPIDEMIOLOGICI</a:t>
            </a:r>
            <a:endParaRPr lang="it-IT" dirty="0"/>
          </a:p>
        </p:txBody>
      </p:sp>
      <p:sp>
        <p:nvSpPr>
          <p:cNvPr id="3" name="Content Placeholder 2"/>
          <p:cNvSpPr>
            <a:spLocks noGrp="1"/>
          </p:cNvSpPr>
          <p:nvPr>
            <p:ph idx="1"/>
          </p:nvPr>
        </p:nvSpPr>
        <p:spPr/>
        <p:txBody>
          <a:bodyPr/>
          <a:lstStyle/>
          <a:p>
            <a:pPr marL="0" indent="0">
              <a:buNone/>
            </a:pPr>
            <a:r>
              <a:rPr lang="it-IT" dirty="0">
                <a:cs typeface="Times New Roman" panose="02020603050405020304" pitchFamily="18" charset="0"/>
              </a:rPr>
              <a:t>Con il termine farmacoepidemiologia si intende una branca della </a:t>
            </a:r>
            <a:r>
              <a:rPr lang="it-IT" b="1" dirty="0">
                <a:cs typeface="Times New Roman" panose="02020603050405020304" pitchFamily="18" charset="0"/>
              </a:rPr>
              <a:t>epidemiologia osservazionale</a:t>
            </a:r>
            <a:r>
              <a:rPr lang="it-IT" dirty="0">
                <a:cs typeface="Times New Roman" panose="02020603050405020304" pitchFamily="18" charset="0"/>
              </a:rPr>
              <a:t> che si occupa di descrivere l’utilizzo dei farmaci in </a:t>
            </a:r>
            <a:r>
              <a:rPr lang="it-IT" b="1" dirty="0">
                <a:cs typeface="Times New Roman" panose="02020603050405020304" pitchFamily="18" charset="0"/>
              </a:rPr>
              <a:t>circostanze reali di cura</a:t>
            </a:r>
            <a:r>
              <a:rPr lang="it-IT" dirty="0">
                <a:cs typeface="Times New Roman" panose="02020603050405020304" pitchFamily="18" charset="0"/>
              </a:rPr>
              <a:t>, studiare le ragioni e le variabili che sottendono le prescrizioni, e monitorare gli esiti dei trattamenti e le variabili che possono influenzare tali esiti (Nosè 2007).</a:t>
            </a:r>
          </a:p>
          <a:p>
            <a:pPr marL="0" indent="0">
              <a:buNone/>
            </a:pPr>
            <a:endParaRPr lang="it-IT" dirty="0"/>
          </a:p>
        </p:txBody>
      </p:sp>
      <p:pic>
        <p:nvPicPr>
          <p:cNvPr id="4"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122695" y="3513221"/>
            <a:ext cx="4502326" cy="32434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itle 1"/>
          <p:cNvSpPr txBox="1">
            <a:spLocks/>
          </p:cNvSpPr>
          <p:nvPr/>
        </p:nvSpPr>
        <p:spPr>
          <a:xfrm>
            <a:off x="442452" y="4563467"/>
            <a:ext cx="6342096" cy="1143000"/>
          </a:xfrm>
          <a:prstGeom prst="rect">
            <a:avLst/>
          </a:prstGeom>
        </p:spPr>
        <p:txBody>
          <a:bodyPr vert="horz" lIns="91440" tIns="45720" rIns="91440" bIns="45720" rtlCol="0" anchor="ctr">
            <a:normAutofit/>
          </a:bodyPr>
          <a:lstStyle>
            <a:lvl1pPr algn="r" defTabSz="914400" rtl="0" eaLnBrk="1" latinLnBrk="0" hangingPunct="1">
              <a:lnSpc>
                <a:spcPct val="90000"/>
              </a:lnSpc>
              <a:spcBef>
                <a:spcPct val="0"/>
              </a:spcBef>
              <a:buNone/>
              <a:defRPr sz="4000" kern="1200" cap="all" baseline="0">
                <a:solidFill>
                  <a:schemeClr val="tx1"/>
                </a:solidFill>
                <a:latin typeface="+mj-lt"/>
                <a:ea typeface="+mj-ea"/>
                <a:cs typeface="+mj-cs"/>
              </a:defRPr>
            </a:lvl1pPr>
          </a:lstStyle>
          <a:p>
            <a:r>
              <a:rPr lang="it-IT" sz="2800" dirty="0" smtClean="0"/>
              <a:t>Un campo in grande espansione</a:t>
            </a:r>
            <a:endParaRPr lang="it-IT" sz="2800" dirty="0"/>
          </a:p>
        </p:txBody>
      </p:sp>
    </p:spTree>
    <p:extLst>
      <p:ext uri="{BB962C8B-B14F-4D97-AF65-F5344CB8AC3E}">
        <p14:creationId xmlns:p14="http://schemas.microsoft.com/office/powerpoint/2010/main" val="13392634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p:cNvSpPr>
            <a:spLocks noGrp="1"/>
          </p:cNvSpPr>
          <p:nvPr>
            <p:ph idx="1"/>
          </p:nvPr>
        </p:nvSpPr>
        <p:spPr>
          <a:xfrm>
            <a:off x="685800" y="1455576"/>
            <a:ext cx="10820400" cy="4763109"/>
          </a:xfrm>
        </p:spPr>
        <p:txBody>
          <a:bodyPr>
            <a:normAutofit fontScale="77500" lnSpcReduction="20000"/>
          </a:bodyPr>
          <a:lstStyle/>
          <a:p>
            <a:r>
              <a:rPr lang="it-IT" dirty="0"/>
              <a:t>La scelta della tecnica di valutazione </a:t>
            </a:r>
            <a:r>
              <a:rPr lang="it-IT" dirty="0" err="1"/>
              <a:t>farmacoeconomica</a:t>
            </a:r>
            <a:r>
              <a:rPr lang="it-IT" dirty="0"/>
              <a:t>: elementi fondamentali e uso della </a:t>
            </a:r>
            <a:r>
              <a:rPr lang="it-IT" dirty="0" err="1"/>
              <a:t>farmacoeconomia</a:t>
            </a:r>
            <a:r>
              <a:rPr lang="it-IT" dirty="0"/>
              <a:t>. </a:t>
            </a:r>
          </a:p>
          <a:p>
            <a:r>
              <a:rPr lang="it-IT" dirty="0"/>
              <a:t>Definizione del punto di vista dell’analisi, orizzonte temporale, attualizzazione dei costi.</a:t>
            </a:r>
          </a:p>
          <a:p>
            <a:r>
              <a:rPr lang="it-IT" dirty="0"/>
              <a:t>Concetto di </a:t>
            </a:r>
            <a:r>
              <a:rPr lang="it-IT" dirty="0" err="1"/>
              <a:t>Disease</a:t>
            </a:r>
            <a:r>
              <a:rPr lang="it-IT" dirty="0"/>
              <a:t> management.</a:t>
            </a:r>
          </a:p>
          <a:p>
            <a:r>
              <a:rPr lang="it-IT" dirty="0"/>
              <a:t>Analisi dei costi e degli esiti di una terapia.</a:t>
            </a:r>
          </a:p>
          <a:p>
            <a:r>
              <a:rPr lang="it-IT" dirty="0"/>
              <a:t>Fasi del computo dei costi. Costi variabili e fissi. Tipologie di costo (medici diretti, non medici diretti, indiretti e intangibili). </a:t>
            </a:r>
          </a:p>
          <a:p>
            <a:r>
              <a:rPr lang="it-IT" dirty="0"/>
              <a:t>Esiti (</a:t>
            </a:r>
            <a:r>
              <a:rPr lang="it-IT" dirty="0" err="1"/>
              <a:t>efficacy</a:t>
            </a:r>
            <a:r>
              <a:rPr lang="it-IT" dirty="0"/>
              <a:t> ed </a:t>
            </a:r>
            <a:r>
              <a:rPr lang="it-IT" dirty="0" err="1"/>
              <a:t>effectivness</a:t>
            </a:r>
            <a:r>
              <a:rPr lang="it-IT" dirty="0"/>
              <a:t>; </a:t>
            </a:r>
            <a:r>
              <a:rPr lang="it-IT" dirty="0" err="1"/>
              <a:t>safety</a:t>
            </a:r>
            <a:r>
              <a:rPr lang="it-IT" dirty="0"/>
              <a:t>). Indicatori di esito. Metodologie di raccolta dei costi e degli esiti. Valutazione economica e studi clinici. </a:t>
            </a:r>
          </a:p>
          <a:p>
            <a:r>
              <a:rPr lang="it-IT" dirty="0"/>
              <a:t>Le principali tipologie di analisi </a:t>
            </a:r>
            <a:r>
              <a:rPr lang="it-IT" dirty="0" err="1"/>
              <a:t>farmacoeconomica</a:t>
            </a:r>
            <a:r>
              <a:rPr lang="it-IT" dirty="0"/>
              <a:t>.</a:t>
            </a:r>
          </a:p>
          <a:p>
            <a:r>
              <a:rPr lang="it-IT" dirty="0"/>
              <a:t>Analisi di minimizzazione dei costi (CMA): quando si può utilizzare questo tipo di analisi. Esempi.</a:t>
            </a:r>
          </a:p>
          <a:p>
            <a:r>
              <a:rPr lang="it-IT" dirty="0"/>
              <a:t>Analisi costo-efficacia (CEA): definizione, obiettivi, caratteristiche, </a:t>
            </a:r>
            <a:r>
              <a:rPr lang="it-IT" dirty="0" err="1"/>
              <a:t>cost-effectiveness</a:t>
            </a:r>
            <a:r>
              <a:rPr lang="it-IT" dirty="0"/>
              <a:t> ratio, i quadranti della CEA, metodi, indici costi-efficacia, uso e applicazione della CEA, analisi incrementale (ICER), esempi, criticità Il rapporto di costo - efficacia di un trattamento farmacologico. La valutazione </a:t>
            </a:r>
            <a:r>
              <a:rPr lang="it-IT" dirty="0" err="1"/>
              <a:t>farmacoeconomica</a:t>
            </a:r>
            <a:r>
              <a:rPr lang="it-IT" dirty="0"/>
              <a:t> di confronto. </a:t>
            </a:r>
          </a:p>
          <a:p>
            <a:r>
              <a:rPr lang="it-IT" dirty="0"/>
              <a:t>Analisi costo-utilità (CUA): definizione, obiettivi, caratteristiche, </a:t>
            </a:r>
            <a:r>
              <a:rPr lang="it-IT" dirty="0" err="1"/>
              <a:t>quality-adjusted</a:t>
            </a:r>
            <a:r>
              <a:rPr lang="it-IT" dirty="0"/>
              <a:t> life </a:t>
            </a:r>
            <a:r>
              <a:rPr lang="it-IT" dirty="0" err="1"/>
              <a:t>year</a:t>
            </a:r>
            <a:r>
              <a:rPr lang="it-IT" dirty="0"/>
              <a:t> (QALY), interpretazione ed uso del QALY, esempi. </a:t>
            </a:r>
          </a:p>
          <a:p>
            <a:r>
              <a:rPr lang="it-IT" dirty="0"/>
              <a:t>Analisi di costo-beneficio (CBA): monetizzazione degli </a:t>
            </a:r>
            <a:r>
              <a:rPr lang="it-IT" dirty="0" err="1"/>
              <a:t>outcome</a:t>
            </a:r>
            <a:r>
              <a:rPr lang="it-IT" dirty="0"/>
              <a:t> sanitari.</a:t>
            </a:r>
          </a:p>
          <a:p>
            <a:endParaRPr lang="it-IT" dirty="0"/>
          </a:p>
        </p:txBody>
      </p:sp>
    </p:spTree>
    <p:extLst>
      <p:ext uri="{BB962C8B-B14F-4D97-AF65-F5344CB8AC3E}">
        <p14:creationId xmlns:p14="http://schemas.microsoft.com/office/powerpoint/2010/main" val="300828497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274638"/>
            <a:ext cx="8435280" cy="1143000"/>
          </a:xfrm>
        </p:spPr>
        <p:txBody>
          <a:bodyPr/>
          <a:lstStyle/>
          <a:p>
            <a:r>
              <a:rPr lang="it-IT" sz="3600" dirty="0" smtClean="0">
                <a:latin typeface="+mn-lt"/>
                <a:cs typeface="Times New Roman" panose="02020603050405020304" pitchFamily="18" charset="0"/>
              </a:rPr>
              <a:t>Obiettivi </a:t>
            </a:r>
            <a:r>
              <a:rPr lang="it-IT" sz="3600" dirty="0">
                <a:latin typeface="+mn-lt"/>
                <a:cs typeface="Times New Roman" panose="02020603050405020304" pitchFamily="18" charset="0"/>
              </a:rPr>
              <a:t>della farmacoepidemiologia </a:t>
            </a:r>
          </a:p>
        </p:txBody>
      </p:sp>
      <p:sp>
        <p:nvSpPr>
          <p:cNvPr id="3" name="Content Placeholder 2"/>
          <p:cNvSpPr>
            <a:spLocks noGrp="1"/>
          </p:cNvSpPr>
          <p:nvPr>
            <p:ph idx="1"/>
          </p:nvPr>
        </p:nvSpPr>
        <p:spPr>
          <a:xfrm>
            <a:off x="593766" y="1600201"/>
            <a:ext cx="11364686" cy="4525963"/>
          </a:xfrm>
        </p:spPr>
        <p:txBody>
          <a:bodyPr>
            <a:normAutofit fontScale="92500" lnSpcReduction="10000"/>
          </a:bodyPr>
          <a:lstStyle/>
          <a:p>
            <a:r>
              <a:rPr lang="it-IT" sz="2000" dirty="0">
                <a:latin typeface="+mj-lt"/>
                <a:cs typeface="Times New Roman" panose="02020603050405020304" pitchFamily="18" charset="0"/>
              </a:rPr>
              <a:t>Descrivere pattern di prescrizione/utilizzo</a:t>
            </a:r>
          </a:p>
          <a:p>
            <a:r>
              <a:rPr lang="it-IT" sz="2000" dirty="0">
                <a:latin typeface="+mj-lt"/>
                <a:cs typeface="Times New Roman" panose="02020603050405020304" pitchFamily="18" charset="0"/>
              </a:rPr>
              <a:t>Quantificare i rischi ed i benefici dei farmaci </a:t>
            </a:r>
          </a:p>
          <a:p>
            <a:pPr lvl="1"/>
            <a:r>
              <a:rPr lang="it-IT" dirty="0">
                <a:latin typeface="+mj-lt"/>
                <a:cs typeface="Times New Roman" panose="02020603050405020304" pitchFamily="18" charset="0"/>
              </a:rPr>
              <a:t>Effetti in </a:t>
            </a:r>
            <a:r>
              <a:rPr lang="it-IT" b="1" dirty="0">
                <a:latin typeface="+mj-lt"/>
                <a:cs typeface="Times New Roman" panose="02020603050405020304" pitchFamily="18" charset="0"/>
              </a:rPr>
              <a:t>condizioni reali (effectiveness</a:t>
            </a:r>
            <a:r>
              <a:rPr lang="it-IT" dirty="0">
                <a:latin typeface="+mj-lt"/>
                <a:cs typeface="Times New Roman" panose="02020603050405020304" pitchFamily="18" charset="0"/>
              </a:rPr>
              <a:t>)</a:t>
            </a:r>
          </a:p>
          <a:p>
            <a:pPr lvl="1"/>
            <a:r>
              <a:rPr lang="it-IT" dirty="0">
                <a:latin typeface="+mj-lt"/>
                <a:cs typeface="Times New Roman" panose="02020603050405020304" pitchFamily="18" charset="0"/>
              </a:rPr>
              <a:t>studiare </a:t>
            </a:r>
            <a:r>
              <a:rPr lang="it-IT" b="1" dirty="0">
                <a:latin typeface="+mj-lt"/>
                <a:cs typeface="Times New Roman" panose="02020603050405020304" pitchFamily="18" charset="0"/>
              </a:rPr>
              <a:t>sottogruppi</a:t>
            </a:r>
            <a:r>
              <a:rPr lang="it-IT" dirty="0">
                <a:latin typeface="+mj-lt"/>
                <a:cs typeface="Times New Roman" panose="02020603050405020304" pitchFamily="18" charset="0"/>
              </a:rPr>
              <a:t> della popolazione non facilmente includibili in RCT (donne, anziani, bambini)</a:t>
            </a:r>
          </a:p>
          <a:p>
            <a:pPr lvl="1"/>
            <a:r>
              <a:rPr lang="it-IT" b="1" dirty="0">
                <a:latin typeface="+mj-lt"/>
                <a:cs typeface="Times New Roman" panose="02020603050405020304" pitchFamily="18" charset="0"/>
              </a:rPr>
              <a:t>Esiti a lungo termine</a:t>
            </a:r>
          </a:p>
          <a:p>
            <a:r>
              <a:rPr lang="it-IT" sz="2000" dirty="0">
                <a:latin typeface="+mj-lt"/>
                <a:cs typeface="Times New Roman" panose="02020603050405020304" pitchFamily="18" charset="0"/>
              </a:rPr>
              <a:t>Confronti con altri farmaci.</a:t>
            </a:r>
          </a:p>
          <a:p>
            <a:r>
              <a:rPr lang="it-IT" sz="2000" b="1" dirty="0">
                <a:latin typeface="+mj-lt"/>
                <a:cs typeface="Times New Roman" panose="02020603050405020304" pitchFamily="18" charset="0"/>
              </a:rPr>
              <a:t>Interazioni</a:t>
            </a:r>
            <a:r>
              <a:rPr lang="it-IT" sz="2000" dirty="0">
                <a:latin typeface="+mj-lt"/>
                <a:cs typeface="Times New Roman" panose="02020603050405020304" pitchFamily="18" charset="0"/>
              </a:rPr>
              <a:t> con farmaci e comorbidità</a:t>
            </a:r>
          </a:p>
          <a:p>
            <a:r>
              <a:rPr lang="it-IT" sz="2000" dirty="0">
                <a:latin typeface="+mj-lt"/>
                <a:cs typeface="Times New Roman" panose="02020603050405020304" pitchFamily="18" charset="0"/>
              </a:rPr>
              <a:t>Analisi dell’appropriatezza del trattamento e dei suoi determinanti</a:t>
            </a:r>
          </a:p>
          <a:p>
            <a:r>
              <a:rPr lang="it-IT" sz="2000" dirty="0">
                <a:latin typeface="+mj-lt"/>
                <a:cs typeface="Times New Roman" panose="02020603050405020304" pitchFamily="18" charset="0"/>
              </a:rPr>
              <a:t>Implicazioni economiche</a:t>
            </a:r>
          </a:p>
          <a:p>
            <a:r>
              <a:rPr lang="it-IT" sz="2000" dirty="0">
                <a:latin typeface="+mj-lt"/>
                <a:cs typeface="Times New Roman" panose="02020603050405020304" pitchFamily="18" charset="0"/>
              </a:rPr>
              <a:t>Qualità della vita</a:t>
            </a:r>
          </a:p>
          <a:p>
            <a:r>
              <a:rPr lang="it-IT" sz="2000" dirty="0">
                <a:latin typeface="+mj-lt"/>
                <a:cs typeface="Times New Roman" panose="02020603050405020304" pitchFamily="18" charset="0"/>
              </a:rPr>
              <a:t>Stima della prevalenza di patologie che costituiscono l’indicazione unica o principale all’impiego di specifici farmaci (farmaci traccianti)</a:t>
            </a:r>
          </a:p>
          <a:p>
            <a:pPr marL="0" indent="0">
              <a:buNone/>
            </a:pPr>
            <a:endParaRPr lang="it-IT" dirty="0"/>
          </a:p>
        </p:txBody>
      </p:sp>
    </p:spTree>
    <p:extLst>
      <p:ext uri="{BB962C8B-B14F-4D97-AF65-F5344CB8AC3E}">
        <p14:creationId xmlns:p14="http://schemas.microsoft.com/office/powerpoint/2010/main" val="16094476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27648" y="623512"/>
            <a:ext cx="8712968" cy="1143000"/>
          </a:xfrm>
        </p:spPr>
        <p:txBody>
          <a:bodyPr>
            <a:normAutofit fontScale="90000"/>
          </a:bodyPr>
          <a:lstStyle/>
          <a:p>
            <a:r>
              <a:rPr lang="it-IT" sz="2800" dirty="0"/>
              <a:t>In che fase dello sviluppo di un farmaco vengono condotti gli studi di farmacoepidemiologia?</a:t>
            </a:r>
          </a:p>
        </p:txBody>
      </p:sp>
      <p:cxnSp>
        <p:nvCxnSpPr>
          <p:cNvPr id="7" name="Straight Arrow Connector 6"/>
          <p:cNvCxnSpPr/>
          <p:nvPr/>
        </p:nvCxnSpPr>
        <p:spPr>
          <a:xfrm flipV="1">
            <a:off x="8112224" y="2924945"/>
            <a:ext cx="936104" cy="771907"/>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sp>
        <p:nvSpPr>
          <p:cNvPr id="9" name="TextBox 8"/>
          <p:cNvSpPr txBox="1"/>
          <p:nvPr/>
        </p:nvSpPr>
        <p:spPr>
          <a:xfrm>
            <a:off x="4151784" y="3731604"/>
            <a:ext cx="6264696" cy="1384995"/>
          </a:xfrm>
          <a:prstGeom prst="rect">
            <a:avLst/>
          </a:prstGeom>
          <a:noFill/>
        </p:spPr>
        <p:txBody>
          <a:bodyPr wrap="square" rtlCol="0">
            <a:spAutoFit/>
          </a:bodyPr>
          <a:lstStyle/>
          <a:p>
            <a:r>
              <a:rPr lang="it-IT" sz="2800" dirty="0"/>
              <a:t>Fase dello sviluppo del farmaco nella quale agisce la farmacoepidemiologia</a:t>
            </a:r>
          </a:p>
        </p:txBody>
      </p:sp>
      <p:sp>
        <p:nvSpPr>
          <p:cNvPr id="3" name="TextBox 2"/>
          <p:cNvSpPr txBox="1"/>
          <p:nvPr/>
        </p:nvSpPr>
        <p:spPr>
          <a:xfrm>
            <a:off x="2567609" y="2132857"/>
            <a:ext cx="1250663" cy="646331"/>
          </a:xfrm>
          <a:prstGeom prst="rect">
            <a:avLst/>
          </a:prstGeom>
          <a:noFill/>
          <a:ln>
            <a:solidFill>
              <a:schemeClr val="tx1"/>
            </a:solidFill>
          </a:ln>
        </p:spPr>
        <p:txBody>
          <a:bodyPr wrap="none" rtlCol="0">
            <a:spAutoFit/>
          </a:bodyPr>
          <a:lstStyle/>
          <a:p>
            <a:r>
              <a:rPr lang="it-IT" dirty="0"/>
              <a:t>Drug </a:t>
            </a:r>
          </a:p>
          <a:p>
            <a:r>
              <a:rPr lang="it-IT" dirty="0"/>
              <a:t>discovery</a:t>
            </a:r>
          </a:p>
        </p:txBody>
      </p:sp>
      <p:sp>
        <p:nvSpPr>
          <p:cNvPr id="8" name="TextBox 7"/>
          <p:cNvSpPr txBox="1"/>
          <p:nvPr/>
        </p:nvSpPr>
        <p:spPr>
          <a:xfrm>
            <a:off x="3856588" y="2132857"/>
            <a:ext cx="1297150" cy="646331"/>
          </a:xfrm>
          <a:prstGeom prst="rect">
            <a:avLst/>
          </a:prstGeom>
          <a:noFill/>
          <a:ln>
            <a:solidFill>
              <a:schemeClr val="tx1"/>
            </a:solidFill>
          </a:ln>
        </p:spPr>
        <p:txBody>
          <a:bodyPr wrap="none" rtlCol="0">
            <a:spAutoFit/>
          </a:bodyPr>
          <a:lstStyle/>
          <a:p>
            <a:r>
              <a:rPr lang="it-IT" dirty="0"/>
              <a:t>Fase </a:t>
            </a:r>
          </a:p>
          <a:p>
            <a:r>
              <a:rPr lang="it-IT" dirty="0"/>
              <a:t>preclinica</a:t>
            </a:r>
          </a:p>
        </p:txBody>
      </p:sp>
      <p:sp>
        <p:nvSpPr>
          <p:cNvPr id="10" name="TextBox 9"/>
          <p:cNvSpPr txBox="1"/>
          <p:nvPr/>
        </p:nvSpPr>
        <p:spPr>
          <a:xfrm>
            <a:off x="5224741" y="2132857"/>
            <a:ext cx="920445" cy="646331"/>
          </a:xfrm>
          <a:prstGeom prst="rect">
            <a:avLst/>
          </a:prstGeom>
          <a:noFill/>
          <a:ln>
            <a:solidFill>
              <a:schemeClr val="tx1"/>
            </a:solidFill>
          </a:ln>
        </p:spPr>
        <p:txBody>
          <a:bodyPr wrap="none" rtlCol="0">
            <a:spAutoFit/>
          </a:bodyPr>
          <a:lstStyle/>
          <a:p>
            <a:r>
              <a:rPr lang="it-IT" dirty="0"/>
              <a:t>Fase </a:t>
            </a:r>
          </a:p>
          <a:p>
            <a:r>
              <a:rPr lang="it-IT" dirty="0"/>
              <a:t>clinica</a:t>
            </a:r>
          </a:p>
        </p:txBody>
      </p:sp>
      <p:sp>
        <p:nvSpPr>
          <p:cNvPr id="11" name="TextBox 10"/>
          <p:cNvSpPr txBox="1"/>
          <p:nvPr/>
        </p:nvSpPr>
        <p:spPr>
          <a:xfrm>
            <a:off x="6278246" y="2132857"/>
            <a:ext cx="1826141" cy="646331"/>
          </a:xfrm>
          <a:prstGeom prst="rect">
            <a:avLst/>
          </a:prstGeom>
          <a:noFill/>
          <a:ln>
            <a:solidFill>
              <a:schemeClr val="tx1"/>
            </a:solidFill>
          </a:ln>
        </p:spPr>
        <p:txBody>
          <a:bodyPr wrap="none" rtlCol="0">
            <a:spAutoFit/>
          </a:bodyPr>
          <a:lstStyle/>
          <a:p>
            <a:r>
              <a:rPr lang="it-IT" dirty="0"/>
              <a:t>Approvazione </a:t>
            </a:r>
          </a:p>
          <a:p>
            <a:r>
              <a:rPr lang="it-IT" dirty="0"/>
              <a:t>Farmaco</a:t>
            </a:r>
          </a:p>
        </p:txBody>
      </p:sp>
      <p:sp>
        <p:nvSpPr>
          <p:cNvPr id="12" name="TextBox 11"/>
          <p:cNvSpPr txBox="1"/>
          <p:nvPr/>
        </p:nvSpPr>
        <p:spPr>
          <a:xfrm>
            <a:off x="8222461" y="2132857"/>
            <a:ext cx="1834156" cy="646331"/>
          </a:xfrm>
          <a:prstGeom prst="rect">
            <a:avLst/>
          </a:prstGeom>
          <a:solidFill>
            <a:srgbClr val="73FEFF"/>
          </a:solidFill>
          <a:ln>
            <a:solidFill>
              <a:schemeClr val="tx1"/>
            </a:solidFill>
          </a:ln>
        </p:spPr>
        <p:txBody>
          <a:bodyPr wrap="none" rtlCol="0">
            <a:spAutoFit/>
          </a:bodyPr>
          <a:lstStyle/>
          <a:p>
            <a:r>
              <a:rPr lang="it-IT" dirty="0"/>
              <a:t>Fase </a:t>
            </a:r>
          </a:p>
          <a:p>
            <a:r>
              <a:rPr lang="it-IT" dirty="0"/>
              <a:t>Post marketing</a:t>
            </a:r>
          </a:p>
        </p:txBody>
      </p:sp>
    </p:spTree>
    <p:extLst>
      <p:ext uri="{BB962C8B-B14F-4D97-AF65-F5344CB8AC3E}">
        <p14:creationId xmlns:p14="http://schemas.microsoft.com/office/powerpoint/2010/main" val="235906086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Problemi dei clinical trials. </a:t>
            </a:r>
            <a:br>
              <a:rPr lang="it-IT" dirty="0"/>
            </a:br>
            <a:r>
              <a:rPr lang="it-IT" dirty="0"/>
              <a:t>Le 5 S di Sturmer</a:t>
            </a:r>
          </a:p>
        </p:txBody>
      </p:sp>
      <p:sp>
        <p:nvSpPr>
          <p:cNvPr id="3" name="Content Placeholder 2"/>
          <p:cNvSpPr>
            <a:spLocks noGrp="1"/>
          </p:cNvSpPr>
          <p:nvPr>
            <p:ph idx="1"/>
          </p:nvPr>
        </p:nvSpPr>
        <p:spPr/>
        <p:txBody>
          <a:bodyPr/>
          <a:lstStyle/>
          <a:p>
            <a:r>
              <a:rPr lang="it-IT" dirty="0"/>
              <a:t>Too </a:t>
            </a:r>
            <a:r>
              <a:rPr lang="it-IT" b="1" dirty="0">
                <a:solidFill>
                  <a:srgbClr val="0096FF"/>
                </a:solidFill>
              </a:rPr>
              <a:t>s</a:t>
            </a:r>
            <a:r>
              <a:rPr lang="it-IT" dirty="0">
                <a:solidFill>
                  <a:srgbClr val="0096FF"/>
                </a:solidFill>
              </a:rPr>
              <a:t>mall</a:t>
            </a:r>
            <a:r>
              <a:rPr lang="it-IT" dirty="0"/>
              <a:t> to detect </a:t>
            </a:r>
            <a:r>
              <a:rPr lang="it-IT" b="1" dirty="0"/>
              <a:t>rare outcomes</a:t>
            </a:r>
          </a:p>
          <a:p>
            <a:r>
              <a:rPr lang="it-IT" dirty="0"/>
              <a:t>Too </a:t>
            </a:r>
            <a:r>
              <a:rPr lang="it-IT" b="1" dirty="0">
                <a:solidFill>
                  <a:srgbClr val="0096FF"/>
                </a:solidFill>
              </a:rPr>
              <a:t>s</a:t>
            </a:r>
            <a:r>
              <a:rPr lang="it-IT" dirty="0">
                <a:solidFill>
                  <a:srgbClr val="0096FF"/>
                </a:solidFill>
              </a:rPr>
              <a:t>imple</a:t>
            </a:r>
            <a:r>
              <a:rPr lang="it-IT" dirty="0"/>
              <a:t> to detect</a:t>
            </a:r>
            <a:r>
              <a:rPr lang="it-IT" b="1" dirty="0"/>
              <a:t> interactions</a:t>
            </a:r>
          </a:p>
          <a:p>
            <a:r>
              <a:rPr lang="it-IT" dirty="0"/>
              <a:t>Too </a:t>
            </a:r>
            <a:r>
              <a:rPr lang="it-IT" b="1" dirty="0">
                <a:solidFill>
                  <a:srgbClr val="0096FF"/>
                </a:solidFill>
              </a:rPr>
              <a:t>s</a:t>
            </a:r>
            <a:r>
              <a:rPr lang="it-IT" dirty="0">
                <a:solidFill>
                  <a:srgbClr val="0096FF"/>
                </a:solidFill>
              </a:rPr>
              <a:t>elected</a:t>
            </a:r>
            <a:r>
              <a:rPr lang="it-IT" dirty="0"/>
              <a:t> to be </a:t>
            </a:r>
            <a:r>
              <a:rPr lang="it-IT" b="1" dirty="0"/>
              <a:t>generalizable</a:t>
            </a:r>
            <a:r>
              <a:rPr lang="it-IT" dirty="0"/>
              <a:t> to all users</a:t>
            </a:r>
          </a:p>
          <a:p>
            <a:r>
              <a:rPr lang="it-IT" dirty="0"/>
              <a:t> Too </a:t>
            </a:r>
            <a:r>
              <a:rPr lang="it-IT" b="1" dirty="0">
                <a:solidFill>
                  <a:srgbClr val="0096FF"/>
                </a:solidFill>
              </a:rPr>
              <a:t>s</a:t>
            </a:r>
            <a:r>
              <a:rPr lang="it-IT" dirty="0">
                <a:solidFill>
                  <a:srgbClr val="0096FF"/>
                </a:solidFill>
              </a:rPr>
              <a:t>pecific</a:t>
            </a:r>
            <a:r>
              <a:rPr lang="it-IT" dirty="0"/>
              <a:t> to assess all </a:t>
            </a:r>
            <a:r>
              <a:rPr lang="it-IT" b="1" dirty="0"/>
              <a:t>relevant outcomes</a:t>
            </a:r>
          </a:p>
          <a:p>
            <a:r>
              <a:rPr lang="it-IT" dirty="0"/>
              <a:t>Too </a:t>
            </a:r>
            <a:r>
              <a:rPr lang="it-IT" b="1" dirty="0">
                <a:solidFill>
                  <a:srgbClr val="0096FF"/>
                </a:solidFill>
              </a:rPr>
              <a:t>s</a:t>
            </a:r>
            <a:r>
              <a:rPr lang="it-IT" dirty="0">
                <a:solidFill>
                  <a:srgbClr val="0096FF"/>
                </a:solidFill>
              </a:rPr>
              <a:t>hort</a:t>
            </a:r>
            <a:r>
              <a:rPr lang="it-IT" dirty="0"/>
              <a:t> to detect </a:t>
            </a:r>
            <a:r>
              <a:rPr lang="it-IT" b="1" dirty="0"/>
              <a:t>long-</a:t>
            </a:r>
            <a:r>
              <a:rPr lang="it-IT" b="1" dirty="0" err="1"/>
              <a:t>term</a:t>
            </a:r>
            <a:r>
              <a:rPr lang="it-IT" b="1" dirty="0"/>
              <a:t> </a:t>
            </a:r>
            <a:r>
              <a:rPr lang="it-IT" b="1" dirty="0" err="1" smtClean="0"/>
              <a:t>effects</a:t>
            </a:r>
            <a:endParaRPr lang="it-IT" b="1" dirty="0" smtClean="0"/>
          </a:p>
          <a:p>
            <a:endParaRPr lang="it-IT" dirty="0"/>
          </a:p>
          <a:p>
            <a:endParaRPr lang="it-IT" dirty="0"/>
          </a:p>
        </p:txBody>
      </p:sp>
      <p:sp>
        <p:nvSpPr>
          <p:cNvPr id="4" name="Rectangle 1"/>
          <p:cNvSpPr>
            <a:spLocks noChangeArrowheads="1"/>
          </p:cNvSpPr>
          <p:nvPr/>
        </p:nvSpPr>
        <p:spPr bwMode="auto">
          <a:xfrm>
            <a:off x="4823380" y="4919908"/>
            <a:ext cx="7368620" cy="1590187"/>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2696" rIns="0" bIns="-12696"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it-IT" altLang="it-IT" sz="2100" b="0" i="0" u="none" strike="noStrike" cap="none" normalizeH="0" baseline="0" dirty="0" smtClean="0">
                <a:ln>
                  <a:noFill/>
                </a:ln>
                <a:solidFill>
                  <a:srgbClr val="202124"/>
                </a:solidFill>
                <a:effectLst/>
                <a:latin typeface="inherit"/>
              </a:rPr>
              <a:t>Troppo piccolo per rilevare esiti rari</a:t>
            </a:r>
          </a:p>
          <a:p>
            <a:pPr marL="0" marR="0" lvl="0" indent="0" algn="l" defTabSz="914400" rtl="0" eaLnBrk="0" fontAlgn="base" latinLnBrk="0" hangingPunct="0">
              <a:lnSpc>
                <a:spcPct val="100000"/>
              </a:lnSpc>
              <a:spcBef>
                <a:spcPct val="0"/>
              </a:spcBef>
              <a:spcAft>
                <a:spcPct val="0"/>
              </a:spcAft>
              <a:buClrTx/>
              <a:buSzTx/>
              <a:buFontTx/>
              <a:buNone/>
              <a:tabLst/>
            </a:pPr>
            <a:r>
              <a:rPr kumimoji="0" lang="it-IT" altLang="it-IT" sz="2100" b="0" i="0" u="none" strike="noStrike" cap="none" normalizeH="0" baseline="0" dirty="0" smtClean="0">
                <a:ln>
                  <a:noFill/>
                </a:ln>
                <a:solidFill>
                  <a:srgbClr val="202124"/>
                </a:solidFill>
                <a:effectLst/>
                <a:latin typeface="inherit"/>
              </a:rPr>
              <a:t>Troppo semplice per rilevare le interazioni </a:t>
            </a:r>
          </a:p>
          <a:p>
            <a:pPr marL="0" marR="0" lvl="0" indent="0" algn="l" defTabSz="914400" rtl="0" eaLnBrk="0" fontAlgn="base" latinLnBrk="0" hangingPunct="0">
              <a:lnSpc>
                <a:spcPct val="100000"/>
              </a:lnSpc>
              <a:spcBef>
                <a:spcPct val="0"/>
              </a:spcBef>
              <a:spcAft>
                <a:spcPct val="0"/>
              </a:spcAft>
              <a:buClrTx/>
              <a:buSzTx/>
              <a:buFontTx/>
              <a:buNone/>
              <a:tabLst/>
            </a:pPr>
            <a:r>
              <a:rPr kumimoji="0" lang="it-IT" altLang="it-IT" sz="2100" b="0" i="0" u="none" strike="noStrike" cap="none" normalizeH="0" baseline="0" dirty="0" smtClean="0">
                <a:ln>
                  <a:noFill/>
                </a:ln>
                <a:solidFill>
                  <a:srgbClr val="202124"/>
                </a:solidFill>
                <a:effectLst/>
                <a:latin typeface="inherit"/>
              </a:rPr>
              <a:t>Troppo selezionato per essere generalizzabile a tutti gli utenti </a:t>
            </a:r>
          </a:p>
          <a:p>
            <a:pPr marL="0" marR="0" lvl="0" indent="0" algn="l" defTabSz="914400" rtl="0" eaLnBrk="0" fontAlgn="base" latinLnBrk="0" hangingPunct="0">
              <a:lnSpc>
                <a:spcPct val="100000"/>
              </a:lnSpc>
              <a:spcBef>
                <a:spcPct val="0"/>
              </a:spcBef>
              <a:spcAft>
                <a:spcPct val="0"/>
              </a:spcAft>
              <a:buClrTx/>
              <a:buSzTx/>
              <a:buFontTx/>
              <a:buNone/>
              <a:tabLst/>
            </a:pPr>
            <a:r>
              <a:rPr kumimoji="0" lang="it-IT" altLang="it-IT" sz="2100" b="0" i="0" u="none" strike="noStrike" cap="none" normalizeH="0" baseline="0" dirty="0" smtClean="0">
                <a:ln>
                  <a:noFill/>
                </a:ln>
                <a:solidFill>
                  <a:srgbClr val="202124"/>
                </a:solidFill>
                <a:effectLst/>
                <a:latin typeface="inherit"/>
              </a:rPr>
              <a:t>Troppo specifico per valutare tutti i risultati rilevanti </a:t>
            </a:r>
          </a:p>
          <a:p>
            <a:pPr marL="0" marR="0" lvl="0" indent="0" algn="l" defTabSz="914400" rtl="0" eaLnBrk="0" fontAlgn="base" latinLnBrk="0" hangingPunct="0">
              <a:lnSpc>
                <a:spcPct val="100000"/>
              </a:lnSpc>
              <a:spcBef>
                <a:spcPct val="0"/>
              </a:spcBef>
              <a:spcAft>
                <a:spcPct val="0"/>
              </a:spcAft>
              <a:buClrTx/>
              <a:buSzTx/>
              <a:buFontTx/>
              <a:buNone/>
              <a:tabLst/>
            </a:pPr>
            <a:r>
              <a:rPr kumimoji="0" lang="it-IT" altLang="it-IT" sz="2100" b="0" i="0" u="none" strike="noStrike" cap="none" normalizeH="0" baseline="0" dirty="0" smtClean="0">
                <a:ln>
                  <a:noFill/>
                </a:ln>
                <a:solidFill>
                  <a:srgbClr val="202124"/>
                </a:solidFill>
                <a:effectLst/>
                <a:latin typeface="inherit"/>
              </a:rPr>
              <a:t>Troppo breve per rilevare effetti a lungo termine</a:t>
            </a:r>
            <a:r>
              <a:rPr kumimoji="0" lang="it-IT" altLang="it-IT" sz="800" b="0" i="0" u="none" strike="noStrike" cap="none" normalizeH="0" baseline="0" dirty="0" smtClean="0">
                <a:ln>
                  <a:noFill/>
                </a:ln>
                <a:solidFill>
                  <a:schemeClr val="tx1"/>
                </a:solidFill>
                <a:effectLst/>
              </a:rPr>
              <a:t> </a:t>
            </a:r>
            <a:endParaRPr kumimoji="0" lang="it-IT" altLang="it-IT" sz="1800" b="0" i="0" u="none" strike="noStrike" cap="none" normalizeH="0" baseline="0" dirty="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47634068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80295" y="409392"/>
            <a:ext cx="8640960" cy="1143000"/>
          </a:xfrm>
        </p:spPr>
        <p:txBody>
          <a:bodyPr>
            <a:normAutofit fontScale="90000"/>
          </a:bodyPr>
          <a:lstStyle/>
          <a:p>
            <a:r>
              <a:rPr lang="it-IT" dirty="0"/>
              <a:t>Rischio di alcune reazioni avverse a farmaci</a:t>
            </a:r>
          </a:p>
        </p:txBody>
      </p:sp>
      <p:graphicFrame>
        <p:nvGraphicFramePr>
          <p:cNvPr id="3" name="Table 2"/>
          <p:cNvGraphicFramePr>
            <a:graphicFrameLocks noGrp="1"/>
          </p:cNvGraphicFramePr>
          <p:nvPr>
            <p:extLst>
              <p:ext uri="{D42A27DB-BD31-4B8C-83A1-F6EECF244321}">
                <p14:modId xmlns:p14="http://schemas.microsoft.com/office/powerpoint/2010/main" val="121211555"/>
              </p:ext>
            </p:extLst>
          </p:nvPr>
        </p:nvGraphicFramePr>
        <p:xfrm>
          <a:off x="1222407" y="1728668"/>
          <a:ext cx="9894771" cy="4831674"/>
        </p:xfrm>
        <a:graphic>
          <a:graphicData uri="http://schemas.openxmlformats.org/drawingml/2006/table">
            <a:tbl>
              <a:tblPr firstRow="1" bandRow="1">
                <a:tableStyleId>{073A0DAA-6AF3-43AB-8588-CEC1D06C72B9}</a:tableStyleId>
              </a:tblPr>
              <a:tblGrid>
                <a:gridCol w="5544523">
                  <a:extLst>
                    <a:ext uri="{9D8B030D-6E8A-4147-A177-3AD203B41FA5}">
                      <a16:colId xmlns:a16="http://schemas.microsoft.com/office/drawing/2014/main" val="20000"/>
                    </a:ext>
                  </a:extLst>
                </a:gridCol>
                <a:gridCol w="1970493">
                  <a:extLst>
                    <a:ext uri="{9D8B030D-6E8A-4147-A177-3AD203B41FA5}">
                      <a16:colId xmlns:a16="http://schemas.microsoft.com/office/drawing/2014/main" val="20001"/>
                    </a:ext>
                  </a:extLst>
                </a:gridCol>
                <a:gridCol w="2379755">
                  <a:extLst>
                    <a:ext uri="{9D8B030D-6E8A-4147-A177-3AD203B41FA5}">
                      <a16:colId xmlns:a16="http://schemas.microsoft.com/office/drawing/2014/main" val="20002"/>
                    </a:ext>
                  </a:extLst>
                </a:gridCol>
              </a:tblGrid>
              <a:tr h="526621">
                <a:tc>
                  <a:txBody>
                    <a:bodyPr/>
                    <a:lstStyle/>
                    <a:p>
                      <a:r>
                        <a:rPr lang="it-IT" dirty="0"/>
                        <a:t>Drug</a:t>
                      </a:r>
                    </a:p>
                  </a:txBody>
                  <a:tcPr/>
                </a:tc>
                <a:tc>
                  <a:txBody>
                    <a:bodyPr/>
                    <a:lstStyle/>
                    <a:p>
                      <a:r>
                        <a:rPr lang="it-IT" dirty="0"/>
                        <a:t>Adverse</a:t>
                      </a:r>
                      <a:r>
                        <a:rPr lang="it-IT" baseline="0" dirty="0"/>
                        <a:t> </a:t>
                      </a:r>
                      <a:r>
                        <a:rPr lang="it-IT" dirty="0"/>
                        <a:t>Event</a:t>
                      </a:r>
                    </a:p>
                  </a:txBody>
                  <a:tcPr/>
                </a:tc>
                <a:tc>
                  <a:txBody>
                    <a:bodyPr/>
                    <a:lstStyle/>
                    <a:p>
                      <a:r>
                        <a:rPr lang="it-IT" dirty="0"/>
                        <a:t>Risk</a:t>
                      </a:r>
                    </a:p>
                  </a:txBody>
                  <a:tcPr/>
                </a:tc>
                <a:extLst>
                  <a:ext uri="{0D108BD9-81ED-4DB2-BD59-A6C34878D82A}">
                    <a16:rowId xmlns:a16="http://schemas.microsoft.com/office/drawing/2014/main" val="10000"/>
                  </a:ext>
                </a:extLst>
              </a:tr>
              <a:tr h="391788">
                <a:tc>
                  <a:txBody>
                    <a:bodyPr/>
                    <a:lstStyle/>
                    <a:p>
                      <a:r>
                        <a:rPr lang="it-IT" dirty="0"/>
                        <a:t>Chinidine</a:t>
                      </a:r>
                    </a:p>
                  </a:txBody>
                  <a:tcPr/>
                </a:tc>
                <a:tc>
                  <a:txBody>
                    <a:bodyPr/>
                    <a:lstStyle/>
                    <a:p>
                      <a:r>
                        <a:rPr lang="it-IT" dirty="0"/>
                        <a:t>Syncopy</a:t>
                      </a:r>
                    </a:p>
                  </a:txBody>
                  <a:tcPr/>
                </a:tc>
                <a:tc>
                  <a:txBody>
                    <a:bodyPr/>
                    <a:lstStyle/>
                    <a:p>
                      <a:r>
                        <a:rPr lang="it-IT" dirty="0"/>
                        <a:t>1/100</a:t>
                      </a:r>
                    </a:p>
                  </a:txBody>
                  <a:tcPr/>
                </a:tc>
                <a:extLst>
                  <a:ext uri="{0D108BD9-81ED-4DB2-BD59-A6C34878D82A}">
                    <a16:rowId xmlns:a16="http://schemas.microsoft.com/office/drawing/2014/main" val="10001"/>
                  </a:ext>
                </a:extLst>
              </a:tr>
              <a:tr h="526621">
                <a:tc>
                  <a:txBody>
                    <a:bodyPr/>
                    <a:lstStyle/>
                    <a:p>
                      <a:r>
                        <a:rPr lang="it-IT" dirty="0"/>
                        <a:t>Clozapine</a:t>
                      </a:r>
                    </a:p>
                  </a:txBody>
                  <a:tcPr/>
                </a:tc>
                <a:tc>
                  <a:txBody>
                    <a:bodyPr/>
                    <a:lstStyle/>
                    <a:p>
                      <a:r>
                        <a:rPr lang="it-IT" dirty="0"/>
                        <a:t>Agranulocitosis</a:t>
                      </a:r>
                    </a:p>
                  </a:txBody>
                  <a:tcPr/>
                </a:tc>
                <a:tc>
                  <a:txBody>
                    <a:bodyPr/>
                    <a:lstStyle/>
                    <a:p>
                      <a:r>
                        <a:rPr lang="it-IT" dirty="0"/>
                        <a:t>1/1250</a:t>
                      </a:r>
                    </a:p>
                  </a:txBody>
                  <a:tcPr/>
                </a:tc>
                <a:extLst>
                  <a:ext uri="{0D108BD9-81ED-4DB2-BD59-A6C34878D82A}">
                    <a16:rowId xmlns:a16="http://schemas.microsoft.com/office/drawing/2014/main" val="10002"/>
                  </a:ext>
                </a:extLst>
              </a:tr>
              <a:tr h="526621">
                <a:tc>
                  <a:txBody>
                    <a:bodyPr/>
                    <a:lstStyle/>
                    <a:p>
                      <a:r>
                        <a:rPr lang="it-IT" dirty="0"/>
                        <a:t>Enalapril</a:t>
                      </a:r>
                    </a:p>
                  </a:txBody>
                  <a:tcPr/>
                </a:tc>
                <a:tc>
                  <a:txBody>
                    <a:bodyPr/>
                    <a:lstStyle/>
                    <a:p>
                      <a:r>
                        <a:rPr lang="it-IT" dirty="0"/>
                        <a:t>Angioedema</a:t>
                      </a:r>
                    </a:p>
                  </a:txBody>
                  <a:tcPr/>
                </a:tc>
                <a:tc>
                  <a:txBody>
                    <a:bodyPr/>
                    <a:lstStyle/>
                    <a:p>
                      <a:r>
                        <a:rPr lang="it-IT" dirty="0"/>
                        <a:t>1/3000</a:t>
                      </a:r>
                    </a:p>
                  </a:txBody>
                  <a:tcPr/>
                </a:tc>
                <a:extLst>
                  <a:ext uri="{0D108BD9-81ED-4DB2-BD59-A6C34878D82A}">
                    <a16:rowId xmlns:a16="http://schemas.microsoft.com/office/drawing/2014/main" val="10003"/>
                  </a:ext>
                </a:extLst>
              </a:tr>
              <a:tr h="526621">
                <a:tc>
                  <a:txBody>
                    <a:bodyPr/>
                    <a:lstStyle/>
                    <a:p>
                      <a:r>
                        <a:rPr lang="it-IT" dirty="0"/>
                        <a:t>Lovastatin</a:t>
                      </a:r>
                      <a:r>
                        <a:rPr lang="it-IT" baseline="0" dirty="0"/>
                        <a:t> </a:t>
                      </a:r>
                      <a:endParaRPr lang="it-IT" dirty="0"/>
                    </a:p>
                  </a:txBody>
                  <a:tcPr/>
                </a:tc>
                <a:tc>
                  <a:txBody>
                    <a:bodyPr/>
                    <a:lstStyle/>
                    <a:p>
                      <a:r>
                        <a:rPr lang="it-IT" dirty="0"/>
                        <a:t>Rhabdomyolisis</a:t>
                      </a:r>
                    </a:p>
                  </a:txBody>
                  <a:tcPr/>
                </a:tc>
                <a:tc>
                  <a:txBody>
                    <a:bodyPr/>
                    <a:lstStyle/>
                    <a:p>
                      <a:r>
                        <a:rPr lang="it-IT" dirty="0"/>
                        <a:t>1/3000</a:t>
                      </a:r>
                    </a:p>
                  </a:txBody>
                  <a:tcPr/>
                </a:tc>
                <a:extLst>
                  <a:ext uri="{0D108BD9-81ED-4DB2-BD59-A6C34878D82A}">
                    <a16:rowId xmlns:a16="http://schemas.microsoft.com/office/drawing/2014/main" val="10004"/>
                  </a:ext>
                </a:extLst>
              </a:tr>
              <a:tr h="526621">
                <a:tc>
                  <a:txBody>
                    <a:bodyPr/>
                    <a:lstStyle/>
                    <a:p>
                      <a:r>
                        <a:rPr lang="it-IT" dirty="0"/>
                        <a:t>Dextrane</a:t>
                      </a:r>
                      <a:r>
                        <a:rPr lang="it-IT" baseline="0" dirty="0"/>
                        <a:t> </a:t>
                      </a:r>
                      <a:endParaRPr lang="it-IT" dirty="0"/>
                    </a:p>
                  </a:txBody>
                  <a:tcPr/>
                </a:tc>
                <a:tc>
                  <a:txBody>
                    <a:bodyPr/>
                    <a:lstStyle/>
                    <a:p>
                      <a:r>
                        <a:rPr lang="it-IT" dirty="0"/>
                        <a:t>Anaphylaxis</a:t>
                      </a:r>
                    </a:p>
                  </a:txBody>
                  <a:tcPr/>
                </a:tc>
                <a:tc>
                  <a:txBody>
                    <a:bodyPr/>
                    <a:lstStyle/>
                    <a:p>
                      <a:r>
                        <a:rPr lang="it-IT" dirty="0"/>
                        <a:t>1/4000</a:t>
                      </a:r>
                    </a:p>
                  </a:txBody>
                  <a:tcPr/>
                </a:tc>
                <a:extLst>
                  <a:ext uri="{0D108BD9-81ED-4DB2-BD59-A6C34878D82A}">
                    <a16:rowId xmlns:a16="http://schemas.microsoft.com/office/drawing/2014/main" val="10005"/>
                  </a:ext>
                </a:extLst>
              </a:tr>
              <a:tr h="526621">
                <a:tc>
                  <a:txBody>
                    <a:bodyPr/>
                    <a:lstStyle/>
                    <a:p>
                      <a:r>
                        <a:rPr lang="it-IT" dirty="0"/>
                        <a:t>Clopidrogrel</a:t>
                      </a:r>
                    </a:p>
                  </a:txBody>
                  <a:tcPr/>
                </a:tc>
                <a:tc>
                  <a:txBody>
                    <a:bodyPr/>
                    <a:lstStyle/>
                    <a:p>
                      <a:r>
                        <a:rPr lang="it-IT" dirty="0"/>
                        <a:t>Agranulocitosis</a:t>
                      </a:r>
                    </a:p>
                  </a:txBody>
                  <a:tcPr/>
                </a:tc>
                <a:tc>
                  <a:txBody>
                    <a:bodyPr/>
                    <a:lstStyle/>
                    <a:p>
                      <a:r>
                        <a:rPr lang="it-IT" dirty="0"/>
                        <a:t>1/5000</a:t>
                      </a:r>
                    </a:p>
                  </a:txBody>
                  <a:tcPr/>
                </a:tc>
                <a:extLst>
                  <a:ext uri="{0D108BD9-81ED-4DB2-BD59-A6C34878D82A}">
                    <a16:rowId xmlns:a16="http://schemas.microsoft.com/office/drawing/2014/main" val="10006"/>
                  </a:ext>
                </a:extLst>
              </a:tr>
              <a:tr h="526621">
                <a:tc>
                  <a:txBody>
                    <a:bodyPr/>
                    <a:lstStyle/>
                    <a:p>
                      <a:r>
                        <a:rPr lang="it-IT" dirty="0"/>
                        <a:t>Halothane</a:t>
                      </a:r>
                    </a:p>
                  </a:txBody>
                  <a:tcPr/>
                </a:tc>
                <a:tc>
                  <a:txBody>
                    <a:bodyPr/>
                    <a:lstStyle/>
                    <a:p>
                      <a:r>
                        <a:rPr lang="it-IT" dirty="0"/>
                        <a:t>Liver cell necrosis</a:t>
                      </a:r>
                    </a:p>
                  </a:txBody>
                  <a:tcPr/>
                </a:tc>
                <a:tc>
                  <a:txBody>
                    <a:bodyPr/>
                    <a:lstStyle/>
                    <a:p>
                      <a:r>
                        <a:rPr lang="it-IT" dirty="0"/>
                        <a:t>1/30000</a:t>
                      </a:r>
                    </a:p>
                  </a:txBody>
                  <a:tcPr/>
                </a:tc>
                <a:extLst>
                  <a:ext uri="{0D108BD9-81ED-4DB2-BD59-A6C34878D82A}">
                    <a16:rowId xmlns:a16="http://schemas.microsoft.com/office/drawing/2014/main" val="10007"/>
                  </a:ext>
                </a:extLst>
              </a:tr>
              <a:tr h="526621">
                <a:tc>
                  <a:txBody>
                    <a:bodyPr/>
                    <a:lstStyle/>
                    <a:p>
                      <a:r>
                        <a:rPr lang="it-IT" dirty="0"/>
                        <a:t>chloramphenicol</a:t>
                      </a:r>
                    </a:p>
                  </a:txBody>
                  <a:tcPr/>
                </a:tc>
                <a:tc>
                  <a:txBody>
                    <a:bodyPr/>
                    <a:lstStyle/>
                    <a:p>
                      <a:r>
                        <a:rPr lang="it-IT" dirty="0"/>
                        <a:t>Aplastic anemia</a:t>
                      </a:r>
                    </a:p>
                  </a:txBody>
                  <a:tcPr/>
                </a:tc>
                <a:tc>
                  <a:txBody>
                    <a:bodyPr/>
                    <a:lstStyle/>
                    <a:p>
                      <a:r>
                        <a:rPr lang="it-IT" dirty="0"/>
                        <a:t>1/40000</a:t>
                      </a:r>
                    </a:p>
                  </a:txBody>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428510650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48720" y="423283"/>
            <a:ext cx="8507288" cy="1143000"/>
          </a:xfrm>
        </p:spPr>
        <p:txBody>
          <a:bodyPr>
            <a:normAutofit fontScale="90000"/>
          </a:bodyPr>
          <a:lstStyle/>
          <a:p>
            <a:r>
              <a:rPr lang="it-IT" sz="3200" dirty="0">
                <a:latin typeface="+mn-lt"/>
                <a:cs typeface="Times New Roman" panose="02020603050405020304" pitchFamily="18" charset="0"/>
              </a:rPr>
              <a:t>Rispetto agli RCT, gli studi </a:t>
            </a:r>
            <a:r>
              <a:rPr lang="it-IT" sz="3200" dirty="0" err="1" smtClean="0">
                <a:latin typeface="+mn-lt"/>
                <a:cs typeface="Times New Roman" panose="02020603050405020304" pitchFamily="18" charset="0"/>
              </a:rPr>
              <a:t>Farmacoepidemiologici</a:t>
            </a:r>
            <a:r>
              <a:rPr lang="it-IT" sz="3200" dirty="0" smtClean="0">
                <a:latin typeface="+mn-lt"/>
                <a:cs typeface="Times New Roman" panose="02020603050405020304" pitchFamily="18" charset="0"/>
              </a:rPr>
              <a:t> permettono </a:t>
            </a:r>
            <a:r>
              <a:rPr lang="it-IT" sz="3200" dirty="0">
                <a:latin typeface="+mn-lt"/>
                <a:cs typeface="Times New Roman" panose="02020603050405020304" pitchFamily="18" charset="0"/>
              </a:rPr>
              <a:t>di: </a:t>
            </a:r>
          </a:p>
        </p:txBody>
      </p:sp>
      <p:sp>
        <p:nvSpPr>
          <p:cNvPr id="3" name="Content Placeholder 2"/>
          <p:cNvSpPr>
            <a:spLocks noGrp="1"/>
          </p:cNvSpPr>
          <p:nvPr>
            <p:ph idx="1"/>
          </p:nvPr>
        </p:nvSpPr>
        <p:spPr>
          <a:xfrm>
            <a:off x="1009403" y="1852550"/>
            <a:ext cx="10937174" cy="4528777"/>
          </a:xfrm>
        </p:spPr>
        <p:txBody>
          <a:bodyPr>
            <a:normAutofit/>
          </a:bodyPr>
          <a:lstStyle/>
          <a:p>
            <a:r>
              <a:rPr lang="it-IT" sz="2400" dirty="0">
                <a:cs typeface="Times New Roman" panose="02020603050405020304" pitchFamily="18" charset="0"/>
              </a:rPr>
              <a:t>Valutare l’efficacia del farmaco in </a:t>
            </a:r>
            <a:r>
              <a:rPr lang="it-IT" sz="2400" b="1" dirty="0">
                <a:cs typeface="Times New Roman" panose="02020603050405020304" pitchFamily="18" charset="0"/>
              </a:rPr>
              <a:t>condizioni reali </a:t>
            </a:r>
            <a:r>
              <a:rPr lang="it-IT" sz="2400" dirty="0">
                <a:cs typeface="Times New Roman" panose="02020603050405020304" pitchFamily="18" charset="0"/>
              </a:rPr>
              <a:t>(effectiveness) </a:t>
            </a:r>
          </a:p>
          <a:p>
            <a:r>
              <a:rPr lang="it-IT" sz="2400" dirty="0">
                <a:cs typeface="Times New Roman" panose="02020603050405020304" pitchFamily="18" charset="0"/>
              </a:rPr>
              <a:t>Includere molti pazienti </a:t>
            </a:r>
          </a:p>
          <a:p>
            <a:r>
              <a:rPr lang="it-IT" sz="2400" dirty="0">
                <a:cs typeface="Times New Roman" panose="02020603050405020304" pitchFamily="18" charset="0"/>
              </a:rPr>
              <a:t>Includere </a:t>
            </a:r>
            <a:r>
              <a:rPr lang="it-IT" sz="2400" b="1" dirty="0">
                <a:cs typeface="Times New Roman" panose="02020603050405020304" pitchFamily="18" charset="0"/>
              </a:rPr>
              <a:t>pazienti con comorbidità</a:t>
            </a:r>
          </a:p>
          <a:p>
            <a:r>
              <a:rPr lang="it-IT" sz="2400" dirty="0">
                <a:cs typeface="Times New Roman" panose="02020603050405020304" pitchFamily="18" charset="0"/>
              </a:rPr>
              <a:t>Includere pazienti che prendono molti </a:t>
            </a:r>
            <a:r>
              <a:rPr lang="it-IT" sz="2400" dirty="0" smtClean="0">
                <a:cs typeface="Times New Roman" panose="02020603050405020304" pitchFamily="18" charset="0"/>
              </a:rPr>
              <a:t>farmaci (</a:t>
            </a:r>
            <a:r>
              <a:rPr lang="it-IT" sz="2400" b="1" dirty="0" err="1" smtClean="0">
                <a:cs typeface="Times New Roman" panose="02020603050405020304" pitchFamily="18" charset="0"/>
              </a:rPr>
              <a:t>politerapia</a:t>
            </a:r>
            <a:r>
              <a:rPr lang="it-IT" sz="2400" dirty="0" smtClean="0">
                <a:cs typeface="Times New Roman" panose="02020603050405020304" pitchFamily="18" charset="0"/>
              </a:rPr>
              <a:t>)</a:t>
            </a:r>
            <a:endParaRPr lang="it-IT" sz="2400" dirty="0">
              <a:cs typeface="Times New Roman" panose="02020603050405020304" pitchFamily="18" charset="0"/>
            </a:endParaRPr>
          </a:p>
          <a:p>
            <a:r>
              <a:rPr lang="it-IT" sz="2400" dirty="0">
                <a:cs typeface="Times New Roman" panose="02020603050405020304" pitchFamily="18" charset="0"/>
              </a:rPr>
              <a:t>Includere gruppi in genere poco studiati negli RCT (</a:t>
            </a:r>
            <a:r>
              <a:rPr lang="it-IT" sz="2400" b="1" dirty="0">
                <a:cs typeface="Times New Roman" panose="02020603050405020304" pitchFamily="18" charset="0"/>
              </a:rPr>
              <a:t>bambini, donne in gravidanza, anziani</a:t>
            </a:r>
            <a:r>
              <a:rPr lang="it-IT" sz="2400" dirty="0">
                <a:cs typeface="Times New Roman" panose="02020603050405020304" pitchFamily="18" charset="0"/>
              </a:rPr>
              <a:t>)</a:t>
            </a:r>
          </a:p>
          <a:p>
            <a:r>
              <a:rPr lang="it-IT" sz="2400" dirty="0">
                <a:cs typeface="Times New Roman" panose="02020603050405020304" pitchFamily="18" charset="0"/>
              </a:rPr>
              <a:t>V</a:t>
            </a:r>
            <a:r>
              <a:rPr lang="it-IT" sz="2400" dirty="0" smtClean="0">
                <a:cs typeface="Times New Roman" panose="02020603050405020304" pitchFamily="18" charset="0"/>
              </a:rPr>
              <a:t>alutare </a:t>
            </a:r>
            <a:r>
              <a:rPr lang="it-IT" sz="2400" dirty="0">
                <a:cs typeface="Times New Roman" panose="02020603050405020304" pitchFamily="18" charset="0"/>
              </a:rPr>
              <a:t>diverse indicazioni per il farmaco</a:t>
            </a:r>
          </a:p>
          <a:p>
            <a:r>
              <a:rPr lang="it-IT" sz="2400" dirty="0">
                <a:cs typeface="Times New Roman" panose="02020603050405020304" pitchFamily="18" charset="0"/>
              </a:rPr>
              <a:t>Valutare molti outcomes</a:t>
            </a:r>
          </a:p>
          <a:p>
            <a:r>
              <a:rPr lang="it-IT" sz="2400" dirty="0">
                <a:cs typeface="Times New Roman" panose="02020603050405020304" pitchFamily="18" charset="0"/>
              </a:rPr>
              <a:t>Valutare </a:t>
            </a:r>
            <a:r>
              <a:rPr lang="it-IT" sz="2400" b="1" dirty="0">
                <a:cs typeface="Times New Roman" panose="02020603050405020304" pitchFamily="18" charset="0"/>
              </a:rPr>
              <a:t>effetti a lungo termine</a:t>
            </a:r>
          </a:p>
          <a:p>
            <a:r>
              <a:rPr lang="it-IT" sz="2400" dirty="0">
                <a:cs typeface="Times New Roman" panose="02020603050405020304" pitchFamily="18" charset="0"/>
              </a:rPr>
              <a:t>Studiare farmaci per i quali non vengono condotti RCT (</a:t>
            </a:r>
            <a:r>
              <a:rPr lang="it-IT" sz="2400" b="1" dirty="0">
                <a:cs typeface="Times New Roman" panose="02020603050405020304" pitchFamily="18" charset="0"/>
              </a:rPr>
              <a:t>fuori brevetto</a:t>
            </a:r>
            <a:r>
              <a:rPr lang="it-IT" sz="2400" dirty="0">
                <a:cs typeface="Times New Roman" panose="02020603050405020304" pitchFamily="18" charset="0"/>
              </a:rPr>
              <a:t>)</a:t>
            </a:r>
            <a:endParaRPr lang="it-IT" dirty="0"/>
          </a:p>
          <a:p>
            <a:endParaRPr lang="it-IT" dirty="0"/>
          </a:p>
        </p:txBody>
      </p:sp>
    </p:spTree>
    <p:extLst>
      <p:ext uri="{BB962C8B-B14F-4D97-AF65-F5344CB8AC3E}">
        <p14:creationId xmlns:p14="http://schemas.microsoft.com/office/powerpoint/2010/main" val="401632779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95600" y="556051"/>
            <a:ext cx="8610600" cy="1293028"/>
          </a:xfrm>
        </p:spPr>
        <p:txBody>
          <a:bodyPr>
            <a:normAutofit fontScale="90000"/>
          </a:bodyPr>
          <a:lstStyle/>
          <a:p>
            <a:r>
              <a:rPr lang="it-IT" dirty="0">
                <a:latin typeface="+mn-lt"/>
                <a:cs typeface="Times New Roman" panose="02020603050405020304" pitchFamily="18" charset="0"/>
              </a:rPr>
              <a:t>Che tipo di dati usiamo in </a:t>
            </a:r>
            <a:r>
              <a:rPr lang="it-IT" dirty="0" err="1">
                <a:latin typeface="+mn-lt"/>
                <a:cs typeface="Times New Roman" panose="02020603050405020304" pitchFamily="18" charset="0"/>
              </a:rPr>
              <a:t>farmacoepidemiologia</a:t>
            </a:r>
            <a:r>
              <a:rPr lang="it-IT" dirty="0" smtClean="0">
                <a:latin typeface="+mn-lt"/>
                <a:cs typeface="Times New Roman" panose="02020603050405020304" pitchFamily="18" charset="0"/>
              </a:rPr>
              <a:t>?</a:t>
            </a:r>
            <a:br>
              <a:rPr lang="it-IT" dirty="0" smtClean="0">
                <a:latin typeface="+mn-lt"/>
                <a:cs typeface="Times New Roman" panose="02020603050405020304" pitchFamily="18" charset="0"/>
              </a:rPr>
            </a:br>
            <a:endParaRPr lang="it-IT" dirty="0">
              <a:latin typeface="+mn-lt"/>
              <a:cs typeface="Times New Roman" panose="02020603050405020304" pitchFamily="18" charset="0"/>
            </a:endParaRPr>
          </a:p>
        </p:txBody>
      </p:sp>
      <p:sp>
        <p:nvSpPr>
          <p:cNvPr id="3" name="Content Placeholder 2"/>
          <p:cNvSpPr>
            <a:spLocks noGrp="1"/>
          </p:cNvSpPr>
          <p:nvPr>
            <p:ph idx="1"/>
          </p:nvPr>
        </p:nvSpPr>
        <p:spPr>
          <a:xfrm>
            <a:off x="795647" y="1816226"/>
            <a:ext cx="11020301" cy="2589519"/>
          </a:xfrm>
        </p:spPr>
        <p:txBody>
          <a:bodyPr/>
          <a:lstStyle/>
          <a:p>
            <a:r>
              <a:rPr lang="it-IT" sz="2400" dirty="0">
                <a:cs typeface="Times New Roman" panose="02020603050405020304" pitchFamily="18" charset="0"/>
              </a:rPr>
              <a:t>Dati aggregati di vendita/prescrizione/consumo</a:t>
            </a:r>
          </a:p>
          <a:p>
            <a:r>
              <a:rPr lang="it-IT" sz="2400" dirty="0">
                <a:cs typeface="Times New Roman" panose="02020603050405020304" pitchFamily="18" charset="0"/>
              </a:rPr>
              <a:t>Dati individuali provenienti da archivi amministrativi/sanitari (archivi prescrizioni farmaci rimborsati dal SSN, cartelle cliniche, etc)</a:t>
            </a:r>
          </a:p>
          <a:p>
            <a:r>
              <a:rPr lang="it-IT" sz="2400" dirty="0">
                <a:cs typeface="Times New Roman" panose="02020603050405020304" pitchFamily="18" charset="0"/>
              </a:rPr>
              <a:t>Dati individuali provenienti da registri di patologia (es. Registri tumori)</a:t>
            </a:r>
          </a:p>
          <a:p>
            <a:r>
              <a:rPr lang="it-IT" sz="2400" dirty="0">
                <a:cs typeface="Times New Roman" panose="02020603050405020304" pitchFamily="18" charset="0"/>
              </a:rPr>
              <a:t>Dati individuali provenienti da studi </a:t>
            </a:r>
            <a:r>
              <a:rPr lang="it-IT" sz="2400" dirty="0" smtClean="0">
                <a:cs typeface="Times New Roman" panose="02020603050405020304" pitchFamily="18" charset="0"/>
              </a:rPr>
              <a:t>osservazionali(coorte</a:t>
            </a:r>
            <a:r>
              <a:rPr lang="it-IT" sz="2400" dirty="0">
                <a:cs typeface="Times New Roman" panose="02020603050405020304" pitchFamily="18" charset="0"/>
              </a:rPr>
              <a:t>, caso-controllo, trasversali...) </a:t>
            </a:r>
          </a:p>
        </p:txBody>
      </p:sp>
    </p:spTree>
    <p:extLst>
      <p:ext uri="{BB962C8B-B14F-4D97-AF65-F5344CB8AC3E}">
        <p14:creationId xmlns:p14="http://schemas.microsoft.com/office/powerpoint/2010/main" val="15389631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gnaposto testo 6">
            <a:extLst>
              <a:ext uri="{FF2B5EF4-FFF2-40B4-BE49-F238E27FC236}">
                <a16:creationId xmlns:a16="http://schemas.microsoft.com/office/drawing/2014/main" id="{A616F824-42C3-EB4D-B967-7B60299AE53D}"/>
              </a:ext>
            </a:extLst>
          </p:cNvPr>
          <p:cNvSpPr>
            <a:spLocks noGrp="1"/>
          </p:cNvSpPr>
          <p:nvPr>
            <p:ph type="body" sz="quarter" idx="14"/>
          </p:nvPr>
        </p:nvSpPr>
        <p:spPr/>
        <p:txBody>
          <a:bodyPr/>
          <a:lstStyle/>
          <a:p>
            <a:r>
              <a:rPr lang="it-IT" dirty="0"/>
              <a:t>FONTE DEI DATI</a:t>
            </a:r>
          </a:p>
        </p:txBody>
      </p:sp>
      <p:sp>
        <p:nvSpPr>
          <p:cNvPr id="8" name="CasellaDiTesto 7">
            <a:extLst>
              <a:ext uri="{FF2B5EF4-FFF2-40B4-BE49-F238E27FC236}">
                <a16:creationId xmlns:a16="http://schemas.microsoft.com/office/drawing/2014/main" id="{7660A3F1-AA0A-D043-B816-C1464A9575F7}"/>
              </a:ext>
            </a:extLst>
          </p:cNvPr>
          <p:cNvSpPr txBox="1"/>
          <p:nvPr/>
        </p:nvSpPr>
        <p:spPr>
          <a:xfrm>
            <a:off x="231040" y="6186693"/>
            <a:ext cx="1362343" cy="307777"/>
          </a:xfrm>
          <a:prstGeom prst="rect">
            <a:avLst/>
          </a:prstGeom>
          <a:solidFill>
            <a:schemeClr val="bg1"/>
          </a:solidFill>
        </p:spPr>
        <p:txBody>
          <a:bodyPr wrap="square" rtlCol="0">
            <a:spAutoFit/>
          </a:bodyPr>
          <a:lstStyle/>
          <a:p>
            <a:pPr algn="r"/>
            <a:endParaRPr lang="it-IT" sz="1400" b="1" dirty="0">
              <a:solidFill>
                <a:srgbClr val="74BB23"/>
              </a:solidFill>
              <a:latin typeface="Titillium Web SemiBold" pitchFamily="2" charset="77"/>
            </a:endParaRPr>
          </a:p>
        </p:txBody>
      </p:sp>
      <p:sp>
        <p:nvSpPr>
          <p:cNvPr id="18" name="Rettangolo arrotondato 11">
            <a:extLst>
              <a:ext uri="{FF2B5EF4-FFF2-40B4-BE49-F238E27FC236}">
                <a16:creationId xmlns:a16="http://schemas.microsoft.com/office/drawing/2014/main" id="{A1A78E2F-C2B0-4DBB-BBB2-D62C06EAB367}"/>
              </a:ext>
            </a:extLst>
          </p:cNvPr>
          <p:cNvSpPr/>
          <p:nvPr/>
        </p:nvSpPr>
        <p:spPr>
          <a:xfrm>
            <a:off x="1983180" y="1936727"/>
            <a:ext cx="1770114" cy="1049010"/>
          </a:xfrm>
          <a:prstGeom prst="roundRect">
            <a:avLst>
              <a:gd name="adj" fmla="val 14325"/>
            </a:avLst>
          </a:prstGeom>
          <a:noFill/>
          <a:ln w="25400" cap="flat">
            <a:solidFill>
              <a:srgbClr val="74BB2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dirty="0" err="1">
                <a:solidFill>
                  <a:srgbClr val="706F6F"/>
                </a:solidFill>
              </a:rPr>
              <a:t>Beneficiaries</a:t>
            </a:r>
            <a:r>
              <a:rPr lang="it-IT" sz="1400" dirty="0">
                <a:solidFill>
                  <a:srgbClr val="706F6F"/>
                </a:solidFill>
              </a:rPr>
              <a:t> Database</a:t>
            </a:r>
          </a:p>
        </p:txBody>
      </p:sp>
      <p:sp>
        <p:nvSpPr>
          <p:cNvPr id="22" name="Rettangolo arrotondato 13">
            <a:extLst>
              <a:ext uri="{FF2B5EF4-FFF2-40B4-BE49-F238E27FC236}">
                <a16:creationId xmlns:a16="http://schemas.microsoft.com/office/drawing/2014/main" id="{EB8BA7D4-CB29-43D1-8D9F-FA53D627B5DF}"/>
              </a:ext>
            </a:extLst>
          </p:cNvPr>
          <p:cNvSpPr/>
          <p:nvPr/>
        </p:nvSpPr>
        <p:spPr>
          <a:xfrm>
            <a:off x="3753293" y="1936727"/>
            <a:ext cx="1694121" cy="1049010"/>
          </a:xfrm>
          <a:prstGeom prst="roundRect">
            <a:avLst>
              <a:gd name="adj" fmla="val 14325"/>
            </a:avLst>
          </a:prstGeom>
          <a:noFill/>
          <a:ln w="25400" cap="flat">
            <a:solidFill>
              <a:srgbClr val="74BB2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dirty="0" err="1">
                <a:solidFill>
                  <a:srgbClr val="706F6F"/>
                </a:solidFill>
              </a:rPr>
              <a:t>Pharmaceutical</a:t>
            </a:r>
            <a:r>
              <a:rPr lang="it-IT" sz="1400" dirty="0">
                <a:solidFill>
                  <a:srgbClr val="706F6F"/>
                </a:solidFill>
              </a:rPr>
              <a:t> Database</a:t>
            </a:r>
            <a:endParaRPr lang="it-IT" sz="1100" dirty="0">
              <a:solidFill>
                <a:srgbClr val="706F6F"/>
              </a:solidFill>
            </a:endParaRPr>
          </a:p>
        </p:txBody>
      </p:sp>
      <p:sp>
        <p:nvSpPr>
          <p:cNvPr id="25" name="Rettangolo arrotondato 14">
            <a:extLst>
              <a:ext uri="{FF2B5EF4-FFF2-40B4-BE49-F238E27FC236}">
                <a16:creationId xmlns:a16="http://schemas.microsoft.com/office/drawing/2014/main" id="{B624445E-D36F-416A-8F24-474903F7BE7C}"/>
              </a:ext>
            </a:extLst>
          </p:cNvPr>
          <p:cNvSpPr/>
          <p:nvPr/>
        </p:nvSpPr>
        <p:spPr>
          <a:xfrm>
            <a:off x="5631714" y="1936727"/>
            <a:ext cx="1846518" cy="1049010"/>
          </a:xfrm>
          <a:prstGeom prst="roundRect">
            <a:avLst>
              <a:gd name="adj" fmla="val 13312"/>
            </a:avLst>
          </a:prstGeom>
          <a:noFill/>
          <a:ln w="25400" cap="flat">
            <a:solidFill>
              <a:srgbClr val="74BB2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dirty="0" err="1">
                <a:solidFill>
                  <a:srgbClr val="706F6F"/>
                </a:solidFill>
              </a:rPr>
              <a:t>Hospitalization</a:t>
            </a:r>
            <a:r>
              <a:rPr lang="it-IT" sz="1400" dirty="0">
                <a:solidFill>
                  <a:srgbClr val="706F6F"/>
                </a:solidFill>
              </a:rPr>
              <a:t> Database</a:t>
            </a:r>
            <a:endParaRPr lang="it-IT" sz="1100" dirty="0">
              <a:solidFill>
                <a:srgbClr val="706F6F"/>
              </a:solidFill>
            </a:endParaRPr>
          </a:p>
        </p:txBody>
      </p:sp>
      <p:sp>
        <p:nvSpPr>
          <p:cNvPr id="27" name="Rettangolo 26">
            <a:extLst>
              <a:ext uri="{FF2B5EF4-FFF2-40B4-BE49-F238E27FC236}">
                <a16:creationId xmlns:a16="http://schemas.microsoft.com/office/drawing/2014/main" id="{79DAC119-2AB9-4FCB-86A5-8FC6253AC776}"/>
              </a:ext>
            </a:extLst>
          </p:cNvPr>
          <p:cNvSpPr/>
          <p:nvPr/>
        </p:nvSpPr>
        <p:spPr>
          <a:xfrm>
            <a:off x="8572036" y="2161354"/>
            <a:ext cx="2852026" cy="307777"/>
          </a:xfrm>
          <a:prstGeom prst="rect">
            <a:avLst/>
          </a:prstGeom>
        </p:spPr>
        <p:txBody>
          <a:bodyPr wrap="square">
            <a:spAutoFit/>
          </a:bodyPr>
          <a:lstStyle/>
          <a:p>
            <a:r>
              <a:rPr lang="it-IT" sz="1400" b="1" dirty="0">
                <a:solidFill>
                  <a:srgbClr val="6D6D6D"/>
                </a:solidFill>
                <a:latin typeface="Titillium Web SemiBold" pitchFamily="2" charset="77"/>
              </a:rPr>
              <a:t>HEALTHCARE RESOURCE USE</a:t>
            </a:r>
            <a:endParaRPr lang="it-IT" sz="1400" b="1" dirty="0">
              <a:latin typeface="Titillium Web SemiBold" pitchFamily="2" charset="77"/>
            </a:endParaRPr>
          </a:p>
        </p:txBody>
      </p:sp>
      <p:pic>
        <p:nvPicPr>
          <p:cNvPr id="29" name="Immagine 28">
            <a:extLst>
              <a:ext uri="{FF2B5EF4-FFF2-40B4-BE49-F238E27FC236}">
                <a16:creationId xmlns:a16="http://schemas.microsoft.com/office/drawing/2014/main" id="{63891183-5F11-46C8-98FE-219B8D03B538}"/>
              </a:ext>
            </a:extLst>
          </p:cNvPr>
          <p:cNvPicPr>
            <a:picLocks noChangeAspect="1"/>
          </p:cNvPicPr>
          <p:nvPr/>
        </p:nvPicPr>
        <p:blipFill>
          <a:blip r:embed="rId2"/>
          <a:stretch>
            <a:fillRect/>
          </a:stretch>
        </p:blipFill>
        <p:spPr>
          <a:xfrm>
            <a:off x="689569" y="2713606"/>
            <a:ext cx="898405" cy="994174"/>
          </a:xfrm>
          <a:prstGeom prst="rect">
            <a:avLst/>
          </a:prstGeom>
        </p:spPr>
      </p:pic>
      <p:sp>
        <p:nvSpPr>
          <p:cNvPr id="31" name="CasellaDiTesto 30">
            <a:extLst>
              <a:ext uri="{FF2B5EF4-FFF2-40B4-BE49-F238E27FC236}">
                <a16:creationId xmlns:a16="http://schemas.microsoft.com/office/drawing/2014/main" id="{1F040C62-4A97-4BFD-9603-127BE4197663}"/>
              </a:ext>
            </a:extLst>
          </p:cNvPr>
          <p:cNvSpPr txBox="1"/>
          <p:nvPr/>
        </p:nvSpPr>
        <p:spPr>
          <a:xfrm>
            <a:off x="684159" y="3807415"/>
            <a:ext cx="909224" cy="338554"/>
          </a:xfrm>
          <a:prstGeom prst="rect">
            <a:avLst/>
          </a:prstGeom>
          <a:noFill/>
        </p:spPr>
        <p:txBody>
          <a:bodyPr wrap="none" rtlCol="0">
            <a:spAutoFit/>
          </a:bodyPr>
          <a:lstStyle/>
          <a:p>
            <a:pPr algn="ctr"/>
            <a:r>
              <a:rPr lang="it-IT" sz="1600" b="1" dirty="0">
                <a:solidFill>
                  <a:srgbClr val="00A5CE"/>
                </a:solidFill>
                <a:latin typeface="Titillium Web SemiBold" pitchFamily="2" charset="77"/>
              </a:rPr>
              <a:t>PATIENT</a:t>
            </a:r>
          </a:p>
        </p:txBody>
      </p:sp>
      <p:sp>
        <p:nvSpPr>
          <p:cNvPr id="32" name="Rettangolo arrotondato 20">
            <a:extLst>
              <a:ext uri="{FF2B5EF4-FFF2-40B4-BE49-F238E27FC236}">
                <a16:creationId xmlns:a16="http://schemas.microsoft.com/office/drawing/2014/main" id="{ED415B76-6AE1-4C7C-AA12-8FFA634FEB39}"/>
              </a:ext>
            </a:extLst>
          </p:cNvPr>
          <p:cNvSpPr/>
          <p:nvPr/>
        </p:nvSpPr>
        <p:spPr>
          <a:xfrm>
            <a:off x="5206409" y="4393301"/>
            <a:ext cx="2147777" cy="606760"/>
          </a:xfrm>
          <a:prstGeom prst="roundRect">
            <a:avLst>
              <a:gd name="adj" fmla="val 50000"/>
            </a:avLst>
          </a:prstGeom>
          <a:solidFill>
            <a:srgbClr val="00A5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dirty="0"/>
              <a:t>INTEGRATED DATABASE</a:t>
            </a:r>
          </a:p>
        </p:txBody>
      </p:sp>
      <p:cxnSp>
        <p:nvCxnSpPr>
          <p:cNvPr id="33" name="Connettore 1 22">
            <a:extLst>
              <a:ext uri="{FF2B5EF4-FFF2-40B4-BE49-F238E27FC236}">
                <a16:creationId xmlns:a16="http://schemas.microsoft.com/office/drawing/2014/main" id="{6CDBBCE8-9C79-4E11-BF95-A34FABF7F390}"/>
              </a:ext>
            </a:extLst>
          </p:cNvPr>
          <p:cNvCxnSpPr>
            <a:cxnSpLocks/>
          </p:cNvCxnSpPr>
          <p:nvPr/>
        </p:nvCxnSpPr>
        <p:spPr>
          <a:xfrm>
            <a:off x="2169042" y="2461232"/>
            <a:ext cx="0" cy="2214184"/>
          </a:xfrm>
          <a:prstGeom prst="line">
            <a:avLst/>
          </a:prstGeom>
          <a:ln w="25400">
            <a:solidFill>
              <a:srgbClr val="706F6F"/>
            </a:solidFill>
            <a:prstDash val="sysDot"/>
          </a:ln>
        </p:spPr>
        <p:style>
          <a:lnRef idx="1">
            <a:schemeClr val="accent1"/>
          </a:lnRef>
          <a:fillRef idx="0">
            <a:schemeClr val="accent1"/>
          </a:fillRef>
          <a:effectRef idx="0">
            <a:schemeClr val="accent1"/>
          </a:effectRef>
          <a:fontRef idx="minor">
            <a:schemeClr val="tx1"/>
          </a:fontRef>
        </p:style>
      </p:cxnSp>
      <p:cxnSp>
        <p:nvCxnSpPr>
          <p:cNvPr id="34" name="Connettore 1 23">
            <a:extLst>
              <a:ext uri="{FF2B5EF4-FFF2-40B4-BE49-F238E27FC236}">
                <a16:creationId xmlns:a16="http://schemas.microsoft.com/office/drawing/2014/main" id="{03D8B23D-01CC-4C78-BAFD-A7F71E0CEE84}"/>
              </a:ext>
            </a:extLst>
          </p:cNvPr>
          <p:cNvCxnSpPr>
            <a:cxnSpLocks/>
          </p:cNvCxnSpPr>
          <p:nvPr/>
        </p:nvCxnSpPr>
        <p:spPr>
          <a:xfrm>
            <a:off x="2169042" y="4675416"/>
            <a:ext cx="2913321" cy="0"/>
          </a:xfrm>
          <a:prstGeom prst="line">
            <a:avLst/>
          </a:prstGeom>
          <a:ln w="25400">
            <a:solidFill>
              <a:srgbClr val="706F6F"/>
            </a:solidFill>
            <a:prstDash val="sysDot"/>
          </a:ln>
        </p:spPr>
        <p:style>
          <a:lnRef idx="1">
            <a:schemeClr val="accent1"/>
          </a:lnRef>
          <a:fillRef idx="0">
            <a:schemeClr val="accent1"/>
          </a:fillRef>
          <a:effectRef idx="0">
            <a:schemeClr val="accent1"/>
          </a:effectRef>
          <a:fontRef idx="minor">
            <a:schemeClr val="tx1"/>
          </a:fontRef>
        </p:style>
      </p:cxnSp>
      <p:cxnSp>
        <p:nvCxnSpPr>
          <p:cNvPr id="35" name="Connettore 1 27">
            <a:extLst>
              <a:ext uri="{FF2B5EF4-FFF2-40B4-BE49-F238E27FC236}">
                <a16:creationId xmlns:a16="http://schemas.microsoft.com/office/drawing/2014/main" id="{53E7116B-5769-46F5-9DEE-CBB8EAD0F0A7}"/>
              </a:ext>
            </a:extLst>
          </p:cNvPr>
          <p:cNvCxnSpPr>
            <a:cxnSpLocks/>
          </p:cNvCxnSpPr>
          <p:nvPr/>
        </p:nvCxnSpPr>
        <p:spPr>
          <a:xfrm>
            <a:off x="1673534" y="3706813"/>
            <a:ext cx="495508" cy="0"/>
          </a:xfrm>
          <a:prstGeom prst="line">
            <a:avLst/>
          </a:prstGeom>
          <a:ln w="25400">
            <a:solidFill>
              <a:srgbClr val="706F6F"/>
            </a:solidFill>
            <a:prstDash val="sysDot"/>
          </a:ln>
        </p:spPr>
        <p:style>
          <a:lnRef idx="1">
            <a:schemeClr val="accent1"/>
          </a:lnRef>
          <a:fillRef idx="0">
            <a:schemeClr val="accent1"/>
          </a:fillRef>
          <a:effectRef idx="0">
            <a:schemeClr val="accent1"/>
          </a:effectRef>
          <a:fontRef idx="minor">
            <a:schemeClr val="tx1"/>
          </a:fontRef>
        </p:style>
      </p:cxnSp>
      <p:sp>
        <p:nvSpPr>
          <p:cNvPr id="36" name="Rettangolo 35">
            <a:extLst>
              <a:ext uri="{FF2B5EF4-FFF2-40B4-BE49-F238E27FC236}">
                <a16:creationId xmlns:a16="http://schemas.microsoft.com/office/drawing/2014/main" id="{31F729D3-8443-4AAD-87A6-4C1B266070FD}"/>
              </a:ext>
            </a:extLst>
          </p:cNvPr>
          <p:cNvSpPr/>
          <p:nvPr/>
        </p:nvSpPr>
        <p:spPr>
          <a:xfrm>
            <a:off x="7478232" y="4435071"/>
            <a:ext cx="4176140" cy="523220"/>
          </a:xfrm>
          <a:prstGeom prst="rect">
            <a:avLst/>
          </a:prstGeom>
        </p:spPr>
        <p:txBody>
          <a:bodyPr wrap="square">
            <a:spAutoFit/>
          </a:bodyPr>
          <a:lstStyle/>
          <a:p>
            <a:pPr algn="ctr">
              <a:spcBef>
                <a:spcPct val="0"/>
              </a:spcBef>
              <a:buClrTx/>
              <a:buSzTx/>
              <a:buFontTx/>
              <a:buNone/>
            </a:pPr>
            <a:r>
              <a:rPr lang="en-GB" altLang="it-IT" sz="1400" dirty="0">
                <a:solidFill>
                  <a:srgbClr val="706F6F"/>
                </a:solidFill>
              </a:rPr>
              <a:t>PATIENT CHRONOLOGICAL AND ANALYTICAL PROFILE</a:t>
            </a:r>
          </a:p>
        </p:txBody>
      </p:sp>
      <p:pic>
        <p:nvPicPr>
          <p:cNvPr id="37" name="Elemento grafico 36">
            <a:extLst>
              <a:ext uri="{FF2B5EF4-FFF2-40B4-BE49-F238E27FC236}">
                <a16:creationId xmlns:a16="http://schemas.microsoft.com/office/drawing/2014/main" id="{8901CED0-5E64-470D-9593-CAE440406EC4}"/>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6060086" y="3101542"/>
            <a:ext cx="546750" cy="648000"/>
          </a:xfrm>
          <a:prstGeom prst="rect">
            <a:avLst/>
          </a:prstGeom>
        </p:spPr>
      </p:pic>
      <p:pic>
        <p:nvPicPr>
          <p:cNvPr id="39" name="Elemento grafico 38">
            <a:extLst>
              <a:ext uri="{FF2B5EF4-FFF2-40B4-BE49-F238E27FC236}">
                <a16:creationId xmlns:a16="http://schemas.microsoft.com/office/drawing/2014/main" id="{FBD13F8C-0B34-4018-BDE3-BFEEC3645DB5}"/>
              </a:ext>
            </a:extLst>
          </p:cNvP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4481442" y="3101542"/>
            <a:ext cx="490374" cy="648000"/>
          </a:xfrm>
          <a:prstGeom prst="rect">
            <a:avLst/>
          </a:prstGeom>
        </p:spPr>
      </p:pic>
      <p:pic>
        <p:nvPicPr>
          <p:cNvPr id="40" name="Elemento grafico 39">
            <a:extLst>
              <a:ext uri="{FF2B5EF4-FFF2-40B4-BE49-F238E27FC236}">
                <a16:creationId xmlns:a16="http://schemas.microsoft.com/office/drawing/2014/main" id="{227EC7E4-B97D-4D81-A87F-3FFE8B0B87DB}"/>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2965252" y="3069130"/>
            <a:ext cx="282456" cy="648000"/>
          </a:xfrm>
          <a:prstGeom prst="rect">
            <a:avLst/>
          </a:prstGeom>
        </p:spPr>
      </p:pic>
    </p:spTree>
    <p:extLst>
      <p:ext uri="{BB962C8B-B14F-4D97-AF65-F5344CB8AC3E}">
        <p14:creationId xmlns:p14="http://schemas.microsoft.com/office/powerpoint/2010/main" val="155531453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sellaDiTesto 6">
            <a:extLst>
              <a:ext uri="{FF2B5EF4-FFF2-40B4-BE49-F238E27FC236}">
                <a16:creationId xmlns:a16="http://schemas.microsoft.com/office/drawing/2014/main" id="{9DE709AB-A81E-D841-B18D-D442F97E4B1C}"/>
              </a:ext>
            </a:extLst>
          </p:cNvPr>
          <p:cNvSpPr txBox="1"/>
          <p:nvPr/>
        </p:nvSpPr>
        <p:spPr>
          <a:xfrm>
            <a:off x="1547848" y="2659399"/>
            <a:ext cx="9049131" cy="2308324"/>
          </a:xfrm>
          <a:prstGeom prst="rect">
            <a:avLst/>
          </a:prstGeom>
          <a:noFill/>
        </p:spPr>
        <p:txBody>
          <a:bodyPr wrap="square">
            <a:spAutoFit/>
          </a:bodyPr>
          <a:lstStyle/>
          <a:p>
            <a:pPr marL="0" marR="0" lvl="0" indent="0" algn="just" defTabSz="457200" rtl="0" eaLnBrk="1" fontAlgn="auto" latinLnBrk="0" hangingPunct="1">
              <a:lnSpc>
                <a:spcPct val="100000"/>
              </a:lnSpc>
              <a:spcBef>
                <a:spcPct val="0"/>
              </a:spcBef>
              <a:spcAft>
                <a:spcPts val="0"/>
              </a:spcAft>
              <a:buClrTx/>
              <a:buSzTx/>
              <a:buFontTx/>
              <a:buNone/>
              <a:tabLst/>
              <a:defRPr/>
            </a:pPr>
            <a:r>
              <a:rPr kumimoji="0" lang="it-IT" altLang="it-IT" sz="2400" b="0" i="1" u="none" strike="noStrike" kern="1200" cap="none" spc="0" normalizeH="0" baseline="0" noProof="0" dirty="0" smtClean="0">
                <a:ln>
                  <a:noFill/>
                </a:ln>
                <a:solidFill>
                  <a:prstClr val="black"/>
                </a:solidFill>
                <a:effectLst/>
                <a:uLnTx/>
                <a:uFillTx/>
                <a:latin typeface="Titillium Web"/>
                <a:ea typeface="+mn-ea"/>
                <a:cs typeface="+mn-cs"/>
              </a:rPr>
              <a:t>Ruolo diretto come sperimentatore principale negli studi osservazionali retrospettivi</a:t>
            </a:r>
          </a:p>
          <a:p>
            <a:pPr marL="0" marR="0" lvl="0" indent="0" algn="just" defTabSz="457200" rtl="0" eaLnBrk="1" fontAlgn="auto" latinLnBrk="0" hangingPunct="1">
              <a:lnSpc>
                <a:spcPct val="100000"/>
              </a:lnSpc>
              <a:spcBef>
                <a:spcPct val="0"/>
              </a:spcBef>
              <a:spcAft>
                <a:spcPts val="0"/>
              </a:spcAft>
              <a:buClrTx/>
              <a:buSzTx/>
              <a:buFontTx/>
              <a:buNone/>
              <a:tabLst/>
              <a:defRPr/>
            </a:pPr>
            <a:endParaRPr kumimoji="0" lang="it-IT" altLang="it-IT" sz="2400" b="0" i="1" u="none" strike="noStrike" kern="1200" cap="none" spc="0" normalizeH="0" baseline="0" noProof="0" dirty="0">
              <a:ln>
                <a:noFill/>
              </a:ln>
              <a:solidFill>
                <a:prstClr val="black"/>
              </a:solidFill>
              <a:effectLst/>
              <a:uLnTx/>
              <a:uFillTx/>
              <a:latin typeface="Titillium Web"/>
              <a:ea typeface="+mn-ea"/>
              <a:cs typeface="+mn-cs"/>
            </a:endParaRPr>
          </a:p>
          <a:p>
            <a:pPr marL="0" marR="0" lvl="0" indent="0" algn="just" defTabSz="457200" rtl="0" eaLnBrk="1" fontAlgn="auto" latinLnBrk="0" hangingPunct="1">
              <a:lnSpc>
                <a:spcPct val="100000"/>
              </a:lnSpc>
              <a:spcBef>
                <a:spcPct val="0"/>
              </a:spcBef>
              <a:spcAft>
                <a:spcPts val="0"/>
              </a:spcAft>
              <a:buClrTx/>
              <a:buSzTx/>
              <a:buFontTx/>
              <a:buNone/>
              <a:tabLst/>
              <a:defRPr/>
            </a:pPr>
            <a:endParaRPr kumimoji="0" lang="it-IT" altLang="it-IT" sz="2400" b="0" i="1" u="none" strike="noStrike" kern="1200" cap="none" spc="0" normalizeH="0" baseline="0" noProof="0" dirty="0" smtClean="0">
              <a:ln>
                <a:noFill/>
              </a:ln>
              <a:solidFill>
                <a:prstClr val="black"/>
              </a:solidFill>
              <a:effectLst/>
              <a:uLnTx/>
              <a:uFillTx/>
              <a:latin typeface="Titillium Web"/>
              <a:ea typeface="+mn-ea"/>
              <a:cs typeface="+mn-cs"/>
            </a:endParaRPr>
          </a:p>
          <a:p>
            <a:pPr marL="0" marR="0" lvl="0" indent="0" algn="just" defTabSz="457200" rtl="0" eaLnBrk="1" fontAlgn="auto" latinLnBrk="0" hangingPunct="1">
              <a:lnSpc>
                <a:spcPct val="100000"/>
              </a:lnSpc>
              <a:spcBef>
                <a:spcPct val="0"/>
              </a:spcBef>
              <a:spcAft>
                <a:spcPts val="0"/>
              </a:spcAft>
              <a:buClrTx/>
              <a:buSzTx/>
              <a:buFontTx/>
              <a:buNone/>
              <a:tabLst/>
              <a:defRPr/>
            </a:pPr>
            <a:r>
              <a:rPr kumimoji="0" lang="it-IT" altLang="it-IT" sz="2400" b="0" i="1" u="none" strike="noStrike" kern="1200" cap="none" spc="0" normalizeH="0" baseline="0" noProof="0" dirty="0" smtClean="0">
                <a:ln>
                  <a:noFill/>
                </a:ln>
                <a:solidFill>
                  <a:prstClr val="black"/>
                </a:solidFill>
                <a:effectLst/>
                <a:uLnTx/>
                <a:uFillTx/>
                <a:latin typeface="Titillium Web"/>
                <a:ea typeface="+mn-ea"/>
                <a:cs typeface="+mn-cs"/>
              </a:rPr>
              <a:t>Ruolo indiretto nelle sperimentazioni cliniche interventistiche (RCT) nella gestione del farmaco sperimentale</a:t>
            </a:r>
            <a:endParaRPr kumimoji="0" lang="it-IT" altLang="it-IT" sz="2400" b="0" i="1" u="none" strike="noStrike" kern="1200" cap="none" spc="0" normalizeH="0" baseline="0" noProof="0" dirty="0">
              <a:ln>
                <a:noFill/>
              </a:ln>
              <a:solidFill>
                <a:prstClr val="black"/>
              </a:solidFill>
              <a:effectLst/>
              <a:uLnTx/>
              <a:uFillTx/>
              <a:latin typeface="Titillium Web"/>
              <a:ea typeface="+mn-ea"/>
              <a:cs typeface="+mn-cs"/>
            </a:endParaRPr>
          </a:p>
        </p:txBody>
      </p:sp>
      <p:sp>
        <p:nvSpPr>
          <p:cNvPr id="8" name="Titolo 1">
            <a:extLst>
              <a:ext uri="{FF2B5EF4-FFF2-40B4-BE49-F238E27FC236}">
                <a16:creationId xmlns:a16="http://schemas.microsoft.com/office/drawing/2014/main" id="{5224CCEC-523D-405A-BE4D-22C6446489F1}"/>
              </a:ext>
            </a:extLst>
          </p:cNvPr>
          <p:cNvSpPr>
            <a:spLocks noGrp="1"/>
          </p:cNvSpPr>
          <p:nvPr>
            <p:ph type="title"/>
          </p:nvPr>
        </p:nvSpPr>
        <p:spPr>
          <a:xfrm>
            <a:off x="4196179" y="939152"/>
            <a:ext cx="6400800" cy="1130300"/>
          </a:xfrm>
        </p:spPr>
        <p:txBody>
          <a:bodyPr>
            <a:normAutofit/>
          </a:bodyPr>
          <a:lstStyle/>
          <a:p>
            <a:pPr algn="ctr"/>
            <a:r>
              <a:rPr lang="it-IT" sz="2800" cap="none" dirty="0" smtClean="0"/>
              <a:t>Che ruolo per il farmacista SSN nella sperimentazione?</a:t>
            </a:r>
            <a:endParaRPr lang="it-IT" sz="2800" cap="none" dirty="0"/>
          </a:p>
        </p:txBody>
      </p:sp>
    </p:spTree>
    <p:extLst>
      <p:ext uri="{BB962C8B-B14F-4D97-AF65-F5344CB8AC3E}">
        <p14:creationId xmlns:p14="http://schemas.microsoft.com/office/powerpoint/2010/main" val="1745759005"/>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Grafico 4">
            <a:extLst>
              <a:ext uri="{FF2B5EF4-FFF2-40B4-BE49-F238E27FC236}">
                <a16:creationId xmlns:a16="http://schemas.microsoft.com/office/drawing/2014/main" id="{28CC4678-9615-4AE2-B7B7-1D31B76B1C0B}"/>
              </a:ext>
            </a:extLst>
          </p:cNvPr>
          <p:cNvGraphicFramePr/>
          <p:nvPr>
            <p:extLst/>
          </p:nvPr>
        </p:nvGraphicFramePr>
        <p:xfrm>
          <a:off x="1765677" y="1464817"/>
          <a:ext cx="4614408" cy="458087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Grafico 5">
            <a:extLst>
              <a:ext uri="{FF2B5EF4-FFF2-40B4-BE49-F238E27FC236}">
                <a16:creationId xmlns:a16="http://schemas.microsoft.com/office/drawing/2014/main" id="{E23306F0-DF27-4C57-B253-FF25CEBC00B6}"/>
              </a:ext>
            </a:extLst>
          </p:cNvPr>
          <p:cNvGraphicFramePr/>
          <p:nvPr>
            <p:extLst/>
          </p:nvPr>
        </p:nvGraphicFramePr>
        <p:xfrm>
          <a:off x="6531006" y="1578564"/>
          <a:ext cx="3879542" cy="4396109"/>
        </p:xfrm>
        <a:graphic>
          <a:graphicData uri="http://schemas.openxmlformats.org/drawingml/2006/chart">
            <c:chart xmlns:c="http://schemas.openxmlformats.org/drawingml/2006/chart" xmlns:r="http://schemas.openxmlformats.org/officeDocument/2006/relationships" r:id="rId3"/>
          </a:graphicData>
        </a:graphic>
      </p:graphicFrame>
      <p:sp>
        <p:nvSpPr>
          <p:cNvPr id="7" name="CasellaDiTesto 6">
            <a:extLst>
              <a:ext uri="{FF2B5EF4-FFF2-40B4-BE49-F238E27FC236}">
                <a16:creationId xmlns:a16="http://schemas.microsoft.com/office/drawing/2014/main" id="{9DE709AB-A81E-D841-B18D-D442F97E4B1C}"/>
              </a:ext>
            </a:extLst>
          </p:cNvPr>
          <p:cNvSpPr txBox="1"/>
          <p:nvPr/>
        </p:nvSpPr>
        <p:spPr>
          <a:xfrm>
            <a:off x="8208966" y="6259247"/>
            <a:ext cx="2201582" cy="276999"/>
          </a:xfrm>
          <a:prstGeom prst="rect">
            <a:avLst/>
          </a:prstGeom>
          <a:noFill/>
        </p:spPr>
        <p:txBody>
          <a:bodyPr wrap="square">
            <a:spAutoFit/>
          </a:bodyPr>
          <a:lstStyle/>
          <a:p>
            <a:pPr marL="0" marR="0" lvl="0" indent="0" algn="just" defTabSz="457200" rtl="0" eaLnBrk="1" fontAlgn="auto" latinLnBrk="0" hangingPunct="1">
              <a:lnSpc>
                <a:spcPct val="100000"/>
              </a:lnSpc>
              <a:spcBef>
                <a:spcPct val="0"/>
              </a:spcBef>
              <a:spcAft>
                <a:spcPts val="0"/>
              </a:spcAft>
              <a:buClrTx/>
              <a:buSzTx/>
              <a:buFontTx/>
              <a:buNone/>
              <a:tabLst/>
              <a:defRPr/>
            </a:pPr>
            <a:r>
              <a:rPr kumimoji="0" lang="it-IT" altLang="it-IT" sz="1200" b="0" i="1" u="none" strike="noStrike" kern="1200" cap="none" spc="0" normalizeH="0" baseline="0" noProof="0" dirty="0">
                <a:ln>
                  <a:noFill/>
                </a:ln>
                <a:solidFill>
                  <a:prstClr val="black"/>
                </a:solidFill>
                <a:effectLst/>
                <a:uLnTx/>
                <a:uFillTx/>
                <a:latin typeface="Titillium Web"/>
                <a:ea typeface="+mn-ea"/>
                <a:cs typeface="+mn-cs"/>
              </a:rPr>
              <a:t>Rapporto AIFA </a:t>
            </a:r>
            <a:r>
              <a:rPr kumimoji="0" lang="it-IT" altLang="it-IT" sz="1200" b="0" i="1" u="none" strike="noStrike" kern="1200" cap="none" spc="0" normalizeH="0" baseline="0" noProof="0" dirty="0" err="1">
                <a:ln>
                  <a:noFill/>
                </a:ln>
                <a:solidFill>
                  <a:prstClr val="black"/>
                </a:solidFill>
                <a:effectLst/>
                <a:uLnTx/>
                <a:uFillTx/>
                <a:latin typeface="Titillium Web"/>
                <a:ea typeface="+mn-ea"/>
                <a:cs typeface="+mn-cs"/>
              </a:rPr>
              <a:t>Osmed</a:t>
            </a:r>
            <a:r>
              <a:rPr kumimoji="0" lang="it-IT" altLang="it-IT" sz="1200" b="0" i="1" u="none" strike="noStrike" kern="1200" cap="none" spc="0" normalizeH="0" baseline="0" noProof="0" dirty="0">
                <a:ln>
                  <a:noFill/>
                </a:ln>
                <a:solidFill>
                  <a:prstClr val="black"/>
                </a:solidFill>
                <a:effectLst/>
                <a:uLnTx/>
                <a:uFillTx/>
                <a:latin typeface="Titillium Web"/>
                <a:ea typeface="+mn-ea"/>
                <a:cs typeface="+mn-cs"/>
              </a:rPr>
              <a:t> 2019</a:t>
            </a:r>
          </a:p>
        </p:txBody>
      </p:sp>
      <p:sp>
        <p:nvSpPr>
          <p:cNvPr id="8" name="Titolo 1">
            <a:extLst>
              <a:ext uri="{FF2B5EF4-FFF2-40B4-BE49-F238E27FC236}">
                <a16:creationId xmlns:a16="http://schemas.microsoft.com/office/drawing/2014/main" id="{5224CCEC-523D-405A-BE4D-22C6446489F1}"/>
              </a:ext>
            </a:extLst>
          </p:cNvPr>
          <p:cNvSpPr>
            <a:spLocks noGrp="1"/>
          </p:cNvSpPr>
          <p:nvPr>
            <p:ph type="title"/>
          </p:nvPr>
        </p:nvSpPr>
        <p:spPr>
          <a:xfrm>
            <a:off x="4196179" y="448263"/>
            <a:ext cx="6400800" cy="1130300"/>
          </a:xfrm>
        </p:spPr>
        <p:txBody>
          <a:bodyPr>
            <a:normAutofit/>
          </a:bodyPr>
          <a:lstStyle/>
          <a:p>
            <a:pPr algn="ctr"/>
            <a:r>
              <a:rPr lang="it-IT" sz="2100" cap="none" dirty="0"/>
              <a:t>Consumo ipoglicemizzanti in Italia</a:t>
            </a:r>
          </a:p>
        </p:txBody>
      </p:sp>
    </p:spTree>
    <p:extLst>
      <p:ext uri="{BB962C8B-B14F-4D97-AF65-F5344CB8AC3E}">
        <p14:creationId xmlns:p14="http://schemas.microsoft.com/office/powerpoint/2010/main" val="539720700"/>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5224CCEC-523D-405A-BE4D-22C6446489F1}"/>
              </a:ext>
            </a:extLst>
          </p:cNvPr>
          <p:cNvSpPr>
            <a:spLocks noGrp="1"/>
          </p:cNvSpPr>
          <p:nvPr>
            <p:ph type="title"/>
          </p:nvPr>
        </p:nvSpPr>
        <p:spPr>
          <a:xfrm>
            <a:off x="4036380" y="476558"/>
            <a:ext cx="6400800" cy="1130300"/>
          </a:xfrm>
        </p:spPr>
        <p:txBody>
          <a:bodyPr>
            <a:normAutofit/>
          </a:bodyPr>
          <a:lstStyle/>
          <a:p>
            <a:pPr algn="ctr"/>
            <a:r>
              <a:rPr lang="it-IT" sz="2100" cap="none" dirty="0"/>
              <a:t>Variazioni farmaci ipoglicemizzanti in Italia</a:t>
            </a:r>
          </a:p>
        </p:txBody>
      </p:sp>
      <p:graphicFrame>
        <p:nvGraphicFramePr>
          <p:cNvPr id="4" name="Grafico 3">
            <a:extLst>
              <a:ext uri="{FF2B5EF4-FFF2-40B4-BE49-F238E27FC236}">
                <a16:creationId xmlns:a16="http://schemas.microsoft.com/office/drawing/2014/main" id="{F6F61089-371D-4487-81DB-D5EFF7E871C0}"/>
              </a:ext>
            </a:extLst>
          </p:cNvPr>
          <p:cNvGraphicFramePr/>
          <p:nvPr>
            <p:extLst/>
          </p:nvPr>
        </p:nvGraphicFramePr>
        <p:xfrm>
          <a:off x="1881187" y="1571348"/>
          <a:ext cx="4623187" cy="413699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Grafico 4">
            <a:extLst>
              <a:ext uri="{FF2B5EF4-FFF2-40B4-BE49-F238E27FC236}">
                <a16:creationId xmlns:a16="http://schemas.microsoft.com/office/drawing/2014/main" id="{3267D7AE-89F3-4D30-9182-0878516083E6}"/>
              </a:ext>
            </a:extLst>
          </p:cNvPr>
          <p:cNvGraphicFramePr/>
          <p:nvPr>
            <p:extLst/>
          </p:nvPr>
        </p:nvGraphicFramePr>
        <p:xfrm>
          <a:off x="6344576" y="1606858"/>
          <a:ext cx="4092605" cy="4101484"/>
        </p:xfrm>
        <a:graphic>
          <a:graphicData uri="http://schemas.openxmlformats.org/drawingml/2006/chart">
            <c:chart xmlns:c="http://schemas.openxmlformats.org/drawingml/2006/chart" xmlns:r="http://schemas.openxmlformats.org/officeDocument/2006/relationships" r:id="rId3"/>
          </a:graphicData>
        </a:graphic>
      </p:graphicFrame>
      <p:sp>
        <p:nvSpPr>
          <p:cNvPr id="6" name="CasellaDiTesto 5">
            <a:extLst>
              <a:ext uri="{FF2B5EF4-FFF2-40B4-BE49-F238E27FC236}">
                <a16:creationId xmlns:a16="http://schemas.microsoft.com/office/drawing/2014/main" id="{9DE709AB-A81E-D841-B18D-D442F97E4B1C}"/>
              </a:ext>
            </a:extLst>
          </p:cNvPr>
          <p:cNvSpPr txBox="1"/>
          <p:nvPr/>
        </p:nvSpPr>
        <p:spPr>
          <a:xfrm>
            <a:off x="8208966" y="6259247"/>
            <a:ext cx="2201582" cy="276999"/>
          </a:xfrm>
          <a:prstGeom prst="rect">
            <a:avLst/>
          </a:prstGeom>
          <a:noFill/>
        </p:spPr>
        <p:txBody>
          <a:bodyPr wrap="square">
            <a:spAutoFit/>
          </a:bodyPr>
          <a:lstStyle/>
          <a:p>
            <a:pPr marL="0" marR="0" lvl="0" indent="0" algn="just" defTabSz="457200" rtl="0" eaLnBrk="1" fontAlgn="auto" latinLnBrk="0" hangingPunct="1">
              <a:lnSpc>
                <a:spcPct val="100000"/>
              </a:lnSpc>
              <a:spcBef>
                <a:spcPct val="0"/>
              </a:spcBef>
              <a:spcAft>
                <a:spcPts val="0"/>
              </a:spcAft>
              <a:buClrTx/>
              <a:buSzTx/>
              <a:buFontTx/>
              <a:buNone/>
              <a:tabLst/>
              <a:defRPr/>
            </a:pPr>
            <a:r>
              <a:rPr kumimoji="0" lang="it-IT" altLang="it-IT" sz="1200" b="0" i="1" u="none" strike="noStrike" kern="1200" cap="none" spc="0" normalizeH="0" baseline="0" noProof="0" dirty="0">
                <a:ln>
                  <a:noFill/>
                </a:ln>
                <a:solidFill>
                  <a:prstClr val="black"/>
                </a:solidFill>
                <a:effectLst/>
                <a:uLnTx/>
                <a:uFillTx/>
                <a:latin typeface="Titillium Web"/>
                <a:ea typeface="+mn-ea"/>
                <a:cs typeface="+mn-cs"/>
              </a:rPr>
              <a:t>Rapporto AIFA </a:t>
            </a:r>
            <a:r>
              <a:rPr kumimoji="0" lang="it-IT" altLang="it-IT" sz="1200" b="0" i="1" u="none" strike="noStrike" kern="1200" cap="none" spc="0" normalizeH="0" baseline="0" noProof="0" dirty="0" err="1">
                <a:ln>
                  <a:noFill/>
                </a:ln>
                <a:solidFill>
                  <a:prstClr val="black"/>
                </a:solidFill>
                <a:effectLst/>
                <a:uLnTx/>
                <a:uFillTx/>
                <a:latin typeface="Titillium Web"/>
                <a:ea typeface="+mn-ea"/>
                <a:cs typeface="+mn-cs"/>
              </a:rPr>
              <a:t>Osmed</a:t>
            </a:r>
            <a:r>
              <a:rPr kumimoji="0" lang="it-IT" altLang="it-IT" sz="1200" b="0" i="1" u="none" strike="noStrike" kern="1200" cap="none" spc="0" normalizeH="0" baseline="0" noProof="0" dirty="0">
                <a:ln>
                  <a:noFill/>
                </a:ln>
                <a:solidFill>
                  <a:prstClr val="black"/>
                </a:solidFill>
                <a:effectLst/>
                <a:uLnTx/>
                <a:uFillTx/>
                <a:latin typeface="Titillium Web"/>
                <a:ea typeface="+mn-ea"/>
                <a:cs typeface="+mn-cs"/>
              </a:rPr>
              <a:t> 2019</a:t>
            </a:r>
          </a:p>
        </p:txBody>
      </p:sp>
    </p:spTree>
    <p:extLst>
      <p:ext uri="{BB962C8B-B14F-4D97-AF65-F5344CB8AC3E}">
        <p14:creationId xmlns:p14="http://schemas.microsoft.com/office/powerpoint/2010/main" val="186749517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p:cNvSpPr>
            <a:spLocks noGrp="1"/>
          </p:cNvSpPr>
          <p:nvPr>
            <p:ph idx="1"/>
          </p:nvPr>
        </p:nvSpPr>
        <p:spPr>
          <a:xfrm>
            <a:off x="975049" y="1268963"/>
            <a:ext cx="10820400" cy="5500229"/>
          </a:xfrm>
        </p:spPr>
        <p:txBody>
          <a:bodyPr>
            <a:normAutofit fontScale="70000" lnSpcReduction="20000"/>
          </a:bodyPr>
          <a:lstStyle/>
          <a:p>
            <a:r>
              <a:rPr lang="it-IT" dirty="0"/>
              <a:t>Analisi </a:t>
            </a:r>
            <a:r>
              <a:rPr lang="it-IT" dirty="0" err="1"/>
              <a:t>cost</a:t>
            </a:r>
            <a:r>
              <a:rPr lang="it-IT" dirty="0"/>
              <a:t> of </a:t>
            </a:r>
            <a:r>
              <a:rPr lang="it-IT" dirty="0" err="1"/>
              <a:t>illness</a:t>
            </a:r>
            <a:r>
              <a:rPr lang="it-IT" dirty="0"/>
              <a:t>: definizione, obiettivi, studi prospettici e retrospettivi, modelli, identificazione dei costi, calcolo complessivo dei costi, esempi</a:t>
            </a:r>
          </a:p>
          <a:p>
            <a:r>
              <a:rPr lang="it-IT" dirty="0"/>
              <a:t>Esempi di studi </a:t>
            </a:r>
            <a:r>
              <a:rPr lang="it-IT" dirty="0" err="1"/>
              <a:t>farmacoepidemiologici</a:t>
            </a:r>
            <a:r>
              <a:rPr lang="it-IT" dirty="0"/>
              <a:t> e analisi dei costi.</a:t>
            </a:r>
          </a:p>
          <a:p>
            <a:r>
              <a:rPr lang="it-IT" dirty="0"/>
              <a:t>I processi decisionali in sanità. Esempi di analisi dell’impatto economico delle scelte terapeutiche in sanità. Budget Impact Analysis. Modello decisionale esplicito (HTA).</a:t>
            </a:r>
          </a:p>
          <a:p>
            <a:r>
              <a:rPr lang="it-IT" dirty="0"/>
              <a:t>Come valutare gli studi di </a:t>
            </a:r>
            <a:r>
              <a:rPr lang="it-IT" dirty="0" err="1"/>
              <a:t>farmacoeconomia</a:t>
            </a:r>
            <a:r>
              <a:rPr lang="it-IT" dirty="0"/>
              <a:t>: un esempio di </a:t>
            </a:r>
            <a:r>
              <a:rPr lang="it-IT" dirty="0" err="1"/>
              <a:t>check</a:t>
            </a:r>
            <a:r>
              <a:rPr lang="it-IT" dirty="0"/>
              <a:t> list.</a:t>
            </a:r>
          </a:p>
          <a:p>
            <a:r>
              <a:rPr lang="it-IT" dirty="0"/>
              <a:t>Come leggere e interpretare i dati di prescrizione. </a:t>
            </a:r>
          </a:p>
          <a:p>
            <a:r>
              <a:rPr lang="it-IT" dirty="0"/>
              <a:t>Aspetti </a:t>
            </a:r>
            <a:r>
              <a:rPr lang="it-IT" dirty="0" err="1"/>
              <a:t>farmacoeconomici</a:t>
            </a:r>
            <a:r>
              <a:rPr lang="it-IT" dirty="0"/>
              <a:t> e appropriatezza terapeutica. </a:t>
            </a:r>
          </a:p>
          <a:p>
            <a:r>
              <a:rPr lang="it-IT" dirty="0"/>
              <a:t>Unità di misura del consumo di farmaci (DDD/1000 ab die). Confronti nel tempo, fra realtà diverse e all’interno di gruppi terapeutici diversi. </a:t>
            </a:r>
          </a:p>
          <a:p>
            <a:r>
              <a:rPr lang="it-IT" dirty="0"/>
              <a:t>Misure esposizione, intensità. Prevalenza, intensità d’uso. DDD/utilizzatore</a:t>
            </a:r>
          </a:p>
          <a:p>
            <a:r>
              <a:rPr lang="it-IT" dirty="0"/>
              <a:t>Spesa e consumi. Rapporto Nazionale sull’uso dei farmaci in Italia. </a:t>
            </a:r>
          </a:p>
          <a:p>
            <a:r>
              <a:rPr lang="it-IT" dirty="0"/>
              <a:t>Statistiche sull’uso dei farmaci. Studi di appropriatezza.  </a:t>
            </a:r>
          </a:p>
          <a:p>
            <a:r>
              <a:rPr lang="it-IT" dirty="0"/>
              <a:t>I principali decisori delle valutazioni </a:t>
            </a:r>
            <a:r>
              <a:rPr lang="it-IT" dirty="0" err="1"/>
              <a:t>farmacoeconomiche</a:t>
            </a:r>
            <a:r>
              <a:rPr lang="it-IT" dirty="0"/>
              <a:t>: società e SSN.</a:t>
            </a:r>
          </a:p>
          <a:p>
            <a:r>
              <a:rPr lang="it-IT" dirty="0"/>
              <a:t>La figura del farmacista in </a:t>
            </a:r>
            <a:r>
              <a:rPr lang="it-IT" dirty="0" err="1"/>
              <a:t>farmacoeconomia</a:t>
            </a:r>
            <a:r>
              <a:rPr lang="it-IT" dirty="0"/>
              <a:t>. Risorse e spesa sanitaria. </a:t>
            </a:r>
            <a:r>
              <a:rPr lang="it-IT" dirty="0" err="1"/>
              <a:t>Governance</a:t>
            </a:r>
            <a:r>
              <a:rPr lang="it-IT" dirty="0"/>
              <a:t> farmaceutica.</a:t>
            </a:r>
          </a:p>
          <a:p>
            <a:r>
              <a:rPr lang="it-IT" dirty="0"/>
              <a:t>La spesa farmaceutica e il consumo dei farmaci in Italia. La spesa farmaceutica: ospedaliera, diretta, convenzionata e distribuzione per conto. </a:t>
            </a:r>
          </a:p>
          <a:p>
            <a:r>
              <a:rPr lang="it-IT" dirty="0"/>
              <a:t>Il mercato farmaceutico: criticità, contenimento della spesa pubblica, controllo delle prescrizioni, controllo dell'offerta, regolazione ed accesso al mercato. Attori principali del mercato sanitario. </a:t>
            </a:r>
          </a:p>
          <a:p>
            <a:r>
              <a:rPr lang="it-IT" dirty="0" err="1"/>
              <a:t>Biosimilari</a:t>
            </a:r>
            <a:r>
              <a:rPr lang="it-IT" dirty="0"/>
              <a:t> ed equivalenti dal punto di vista </a:t>
            </a:r>
            <a:r>
              <a:rPr lang="it-IT" dirty="0" err="1"/>
              <a:t>farmacoeconomico</a:t>
            </a:r>
            <a:r>
              <a:rPr lang="it-IT" dirty="0"/>
              <a:t>. Esempi.  </a:t>
            </a:r>
          </a:p>
          <a:p>
            <a:endParaRPr lang="it-IT" dirty="0"/>
          </a:p>
        </p:txBody>
      </p:sp>
    </p:spTree>
    <p:extLst>
      <p:ext uri="{BB962C8B-B14F-4D97-AF65-F5344CB8AC3E}">
        <p14:creationId xmlns:p14="http://schemas.microsoft.com/office/powerpoint/2010/main" val="402021061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Rectangle 3"/>
          <p:cNvSpPr>
            <a:spLocks noGrp="1" noChangeArrowheads="1"/>
          </p:cNvSpPr>
          <p:nvPr>
            <p:ph type="body" idx="1"/>
          </p:nvPr>
        </p:nvSpPr>
        <p:spPr>
          <a:xfrm>
            <a:off x="2216314" y="1980206"/>
            <a:ext cx="7891153" cy="3032308"/>
          </a:xfrm>
        </p:spPr>
        <p:txBody>
          <a:bodyPr>
            <a:noAutofit/>
          </a:bodyPr>
          <a:lstStyle/>
          <a:p>
            <a:pPr>
              <a:buClr>
                <a:srgbClr val="990033"/>
              </a:buClr>
              <a:buFont typeface="Wingdings" panose="05000000000000000000" pitchFamily="2" charset="2"/>
              <a:buChar char="Ø"/>
            </a:pPr>
            <a:r>
              <a:rPr lang="it-IT" sz="1600" dirty="0"/>
              <a:t> ASUGI presentava un utilizzo e una conseguente spesa più elevata (+20%) per le nuove terapie ipoglicemizzanti rispetto alla media regionale FVG. </a:t>
            </a:r>
          </a:p>
          <a:p>
            <a:pPr>
              <a:buClr>
                <a:srgbClr val="990033"/>
              </a:buClr>
              <a:buFont typeface="Wingdings" panose="05000000000000000000" pitchFamily="2" charset="2"/>
              <a:buChar char="Ø"/>
            </a:pPr>
            <a:endParaRPr lang="it-IT" altLang="it-IT" sz="1600" dirty="0"/>
          </a:p>
          <a:p>
            <a:pPr>
              <a:buClr>
                <a:srgbClr val="990033"/>
              </a:buClr>
              <a:buFont typeface="Wingdings" panose="05000000000000000000" pitchFamily="2" charset="2"/>
              <a:buChar char="Ø"/>
            </a:pPr>
            <a:r>
              <a:rPr lang="it-IT" altLang="it-IT" sz="1600" dirty="0"/>
              <a:t> L’elevato consumo registrato ha fatto emergere la necessità di rispondere a questa domanda.</a:t>
            </a:r>
          </a:p>
          <a:p>
            <a:pPr>
              <a:buClr>
                <a:srgbClr val="990033"/>
              </a:buClr>
              <a:buFont typeface="Wingdings" panose="05000000000000000000" pitchFamily="2" charset="2"/>
              <a:buChar char="Ø"/>
            </a:pPr>
            <a:endParaRPr lang="it-IT" altLang="it-IT" sz="1600" dirty="0"/>
          </a:p>
          <a:p>
            <a:pPr marL="0" indent="0">
              <a:buClr>
                <a:srgbClr val="990033"/>
              </a:buClr>
              <a:buNone/>
            </a:pPr>
            <a:r>
              <a:rPr lang="it-IT" altLang="it-IT" sz="1600" i="1" dirty="0"/>
              <a:t>L’investimento di risorse economiche che l’Azienda Sanitaria impiegava per trattare la popolazione diabetica eleggibile era controbilanciato dalla riduzione degli eventi CV, da un effetto positivo sulle ospedalizzazioni, da una riduzione degli ausili per la misurazione della glicemia e da un miglioramento di alcuni parametri (</a:t>
            </a:r>
            <a:r>
              <a:rPr lang="it-IT" altLang="it-IT" sz="1600" i="1" dirty="0" err="1"/>
              <a:t>emogobina</a:t>
            </a:r>
            <a:r>
              <a:rPr lang="it-IT" altLang="it-IT" sz="1600" i="1" dirty="0"/>
              <a:t> </a:t>
            </a:r>
            <a:r>
              <a:rPr lang="it-IT" altLang="it-IT" sz="1600" i="1" dirty="0" err="1"/>
              <a:t>glicata</a:t>
            </a:r>
            <a:r>
              <a:rPr lang="it-IT" altLang="it-IT" sz="1600" i="1" dirty="0"/>
              <a:t>) e riduzione UKPDS?</a:t>
            </a:r>
          </a:p>
          <a:p>
            <a:pPr>
              <a:buClr>
                <a:srgbClr val="990033"/>
              </a:buClr>
              <a:buFont typeface="Wingdings" panose="05000000000000000000" pitchFamily="2" charset="2"/>
              <a:buChar char="Ø"/>
            </a:pPr>
            <a:endParaRPr lang="it-IT" altLang="it-IT" sz="1600" dirty="0"/>
          </a:p>
          <a:p>
            <a:pPr>
              <a:buClr>
                <a:srgbClr val="990033"/>
              </a:buClr>
              <a:buFont typeface="Wingdings" panose="05000000000000000000" pitchFamily="2" charset="2"/>
              <a:buChar char="Ø"/>
            </a:pPr>
            <a:r>
              <a:rPr lang="it-IT" altLang="it-IT" sz="1600" dirty="0"/>
              <a:t> Abbiamo quindi deciso di effettuare diversi approfondimenti e studi osservazionali retrospettivi</a:t>
            </a:r>
          </a:p>
          <a:p>
            <a:pPr>
              <a:buClr>
                <a:srgbClr val="990033"/>
              </a:buClr>
              <a:buFont typeface="Wingdings" panose="05000000000000000000" pitchFamily="2" charset="2"/>
              <a:buChar char="Ø"/>
            </a:pPr>
            <a:r>
              <a:rPr lang="it-IT" altLang="it-IT" sz="1600" dirty="0"/>
              <a:t> Fondamentale è stata la collaborazione fra servizio farmaceutico e le diabetologie di ASUGI</a:t>
            </a:r>
          </a:p>
        </p:txBody>
      </p:sp>
      <p:sp>
        <p:nvSpPr>
          <p:cNvPr id="4" name="CasellaDiTesto 3">
            <a:extLst>
              <a:ext uri="{FF2B5EF4-FFF2-40B4-BE49-F238E27FC236}">
                <a16:creationId xmlns:a16="http://schemas.microsoft.com/office/drawing/2014/main" id="{DBF5D3B7-A9C3-604A-90E5-212F76FB0912}"/>
              </a:ext>
            </a:extLst>
          </p:cNvPr>
          <p:cNvSpPr txBox="1"/>
          <p:nvPr/>
        </p:nvSpPr>
        <p:spPr>
          <a:xfrm>
            <a:off x="4439667" y="941291"/>
            <a:ext cx="5881607" cy="738664"/>
          </a:xfrm>
          <a:prstGeom prst="rect">
            <a:avLst/>
          </a:prstGeom>
          <a:noFill/>
        </p:spPr>
        <p:txBody>
          <a:bodyPr wrap="square" rtlCol="0">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it-IT" sz="2100" b="0" i="0" u="none" strike="noStrike" kern="1200" cap="none" spc="0" normalizeH="0" baseline="0" noProof="0" dirty="0">
                <a:ln>
                  <a:noFill/>
                </a:ln>
                <a:solidFill>
                  <a:prstClr val="black"/>
                </a:solidFill>
                <a:effectLst/>
                <a:uLnTx/>
                <a:uFillTx/>
                <a:latin typeface="Century Gothic" panose="020B0502020202020204"/>
                <a:ea typeface="+mn-ea"/>
                <a:cs typeface="+mn-cs"/>
              </a:rPr>
              <a:t>…allora ci siamo chiesti …si può coniugare l’innovazione con la sostenibilità?</a:t>
            </a:r>
          </a:p>
        </p:txBody>
      </p:sp>
    </p:spTree>
    <p:extLst>
      <p:ext uri="{BB962C8B-B14F-4D97-AF65-F5344CB8AC3E}">
        <p14:creationId xmlns:p14="http://schemas.microsoft.com/office/powerpoint/2010/main" val="1513640605"/>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uppo 20"/>
          <p:cNvGrpSpPr/>
          <p:nvPr/>
        </p:nvGrpSpPr>
        <p:grpSpPr>
          <a:xfrm>
            <a:off x="2178481" y="1434162"/>
            <a:ext cx="1933833" cy="4529188"/>
            <a:chOff x="1018871" y="1434162"/>
            <a:chExt cx="1933833" cy="4529188"/>
          </a:xfrm>
        </p:grpSpPr>
        <p:grpSp>
          <p:nvGrpSpPr>
            <p:cNvPr id="19" name="Gruppo 18"/>
            <p:cNvGrpSpPr/>
            <p:nvPr/>
          </p:nvGrpSpPr>
          <p:grpSpPr>
            <a:xfrm>
              <a:off x="1018871" y="2215223"/>
              <a:ext cx="1933833" cy="2820093"/>
              <a:chOff x="1018871" y="1462055"/>
              <a:chExt cx="1933833" cy="2820093"/>
            </a:xfrm>
          </p:grpSpPr>
          <p:grpSp>
            <p:nvGrpSpPr>
              <p:cNvPr id="14" name="Gruppo 13"/>
              <p:cNvGrpSpPr/>
              <p:nvPr/>
            </p:nvGrpSpPr>
            <p:grpSpPr>
              <a:xfrm>
                <a:off x="1033091" y="3469895"/>
                <a:ext cx="1919613" cy="812253"/>
                <a:chOff x="1018871" y="1462055"/>
                <a:chExt cx="1919613" cy="812253"/>
              </a:xfrm>
            </p:grpSpPr>
            <p:sp>
              <p:nvSpPr>
                <p:cNvPr id="15" name="Cilindro 14"/>
                <p:cNvSpPr/>
                <p:nvPr/>
              </p:nvSpPr>
              <p:spPr>
                <a:xfrm>
                  <a:off x="1018871" y="1462055"/>
                  <a:ext cx="1919613" cy="812253"/>
                </a:xfrm>
                <a:prstGeom prst="can">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sp>
              <p:nvSpPr>
                <p:cNvPr id="16" name="CasellaDiTesto 15"/>
                <p:cNvSpPr txBox="1"/>
                <p:nvPr/>
              </p:nvSpPr>
              <p:spPr>
                <a:xfrm>
                  <a:off x="1018872" y="1716965"/>
                  <a:ext cx="1919612" cy="461665"/>
                </a:xfrm>
                <a:prstGeom prst="rect">
                  <a:avLst/>
                </a:prstGeom>
                <a:noFill/>
              </p:spPr>
              <p:txBody>
                <a:bodyPr wrap="square" rtlCol="0" anchor="ctr"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black"/>
                      </a:solidFill>
                      <a:effectLst/>
                      <a:uLnTx/>
                      <a:uFillTx/>
                      <a:latin typeface="Century Gothic" panose="020B0502020202020204"/>
                      <a:ea typeface="+mn-ea"/>
                      <a:cs typeface="+mn-cs"/>
                    </a:rPr>
                    <a:t>Specialistica ambulatoriale </a:t>
                  </a:r>
                </a:p>
              </p:txBody>
            </p:sp>
          </p:grpSp>
          <p:grpSp>
            <p:nvGrpSpPr>
              <p:cNvPr id="11" name="Gruppo 10"/>
              <p:cNvGrpSpPr/>
              <p:nvPr/>
            </p:nvGrpSpPr>
            <p:grpSpPr>
              <a:xfrm>
                <a:off x="1028351" y="2800615"/>
                <a:ext cx="1919613" cy="812253"/>
                <a:chOff x="1018871" y="1462055"/>
                <a:chExt cx="1919613" cy="812253"/>
              </a:xfrm>
            </p:grpSpPr>
            <p:sp>
              <p:nvSpPr>
                <p:cNvPr id="12" name="Cilindro 11"/>
                <p:cNvSpPr/>
                <p:nvPr/>
              </p:nvSpPr>
              <p:spPr>
                <a:xfrm>
                  <a:off x="1018871" y="1462055"/>
                  <a:ext cx="1919613" cy="812253"/>
                </a:xfrm>
                <a:prstGeom prst="can">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sp>
              <p:nvSpPr>
                <p:cNvPr id="13" name="CasellaDiTesto 12"/>
                <p:cNvSpPr txBox="1"/>
                <p:nvPr/>
              </p:nvSpPr>
              <p:spPr>
                <a:xfrm>
                  <a:off x="1018872" y="1716965"/>
                  <a:ext cx="1919612" cy="461665"/>
                </a:xfrm>
                <a:prstGeom prst="rect">
                  <a:avLst/>
                </a:prstGeom>
                <a:noFill/>
              </p:spPr>
              <p:txBody>
                <a:bodyPr wrap="square" rtlCol="0" anchor="ctr"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prstClr val="black"/>
                      </a:solidFill>
                      <a:effectLst/>
                      <a:uLnTx/>
                      <a:uFillTx/>
                      <a:latin typeface="Century Gothic" panose="020B0502020202020204"/>
                      <a:ea typeface="+mn-ea"/>
                      <a:cs typeface="+mn-cs"/>
                    </a:rPr>
                    <a:t>Database</a:t>
                  </a:r>
                  <a:r>
                    <a:rPr kumimoji="0" lang="it-IT" sz="1200" b="1" i="0" u="none" strike="noStrike" kern="1200" cap="none" spc="0" normalizeH="0" baseline="0" noProof="0" dirty="0">
                      <a:ln>
                        <a:noFill/>
                      </a:ln>
                      <a:solidFill>
                        <a:prstClr val="black"/>
                      </a:solidFill>
                      <a:effectLst/>
                      <a:uLnTx/>
                      <a:uFillTx/>
                      <a:latin typeface="Century Gothic" panose="020B0502020202020204"/>
                      <a:ea typeface="+mn-ea"/>
                      <a:cs typeface="+mn-cs"/>
                    </a:rPr>
                    <a:t>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black"/>
                      </a:solidFill>
                      <a:effectLst/>
                      <a:uLnTx/>
                      <a:uFillTx/>
                      <a:latin typeface="Century Gothic" panose="020B0502020202020204"/>
                      <a:ea typeface="+mn-ea"/>
                      <a:cs typeface="+mn-cs"/>
                    </a:rPr>
                    <a:t>ospedaliero (SDO)</a:t>
                  </a:r>
                </a:p>
              </p:txBody>
            </p:sp>
          </p:grpSp>
          <p:grpSp>
            <p:nvGrpSpPr>
              <p:cNvPr id="8" name="Gruppo 7"/>
              <p:cNvGrpSpPr/>
              <p:nvPr/>
            </p:nvGrpSpPr>
            <p:grpSpPr>
              <a:xfrm>
                <a:off x="1023611" y="2131335"/>
                <a:ext cx="1919613" cy="812253"/>
                <a:chOff x="1018871" y="1462055"/>
                <a:chExt cx="1919613" cy="812253"/>
              </a:xfrm>
            </p:grpSpPr>
            <p:sp>
              <p:nvSpPr>
                <p:cNvPr id="9" name="Cilindro 8"/>
                <p:cNvSpPr/>
                <p:nvPr/>
              </p:nvSpPr>
              <p:spPr>
                <a:xfrm>
                  <a:off x="1018871" y="1462055"/>
                  <a:ext cx="1919613" cy="812253"/>
                </a:xfrm>
                <a:prstGeom prst="can">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sp>
              <p:nvSpPr>
                <p:cNvPr id="10" name="CasellaDiTesto 9"/>
                <p:cNvSpPr txBox="1"/>
                <p:nvPr/>
              </p:nvSpPr>
              <p:spPr>
                <a:xfrm>
                  <a:off x="1018872" y="1809298"/>
                  <a:ext cx="1919612" cy="276999"/>
                </a:xfrm>
                <a:prstGeom prst="rect">
                  <a:avLst/>
                </a:prstGeom>
                <a:noFill/>
              </p:spPr>
              <p:txBody>
                <a:bodyPr wrap="square" rtlCol="0" anchor="ctr"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black"/>
                      </a:solidFill>
                      <a:effectLst/>
                      <a:uLnTx/>
                      <a:uFillTx/>
                      <a:latin typeface="Century Gothic" panose="020B0502020202020204"/>
                      <a:ea typeface="+mn-ea"/>
                      <a:cs typeface="+mn-cs"/>
                    </a:rPr>
                    <a:t>Farmaceutica </a:t>
                  </a:r>
                </a:p>
              </p:txBody>
            </p:sp>
          </p:grpSp>
          <p:grpSp>
            <p:nvGrpSpPr>
              <p:cNvPr id="7" name="Gruppo 6"/>
              <p:cNvGrpSpPr/>
              <p:nvPr/>
            </p:nvGrpSpPr>
            <p:grpSpPr>
              <a:xfrm>
                <a:off x="1018871" y="1462055"/>
                <a:ext cx="1919613" cy="812253"/>
                <a:chOff x="1018871" y="1462055"/>
                <a:chExt cx="1919613" cy="812253"/>
              </a:xfrm>
            </p:grpSpPr>
            <p:sp>
              <p:nvSpPr>
                <p:cNvPr id="5" name="Cilindro 4"/>
                <p:cNvSpPr/>
                <p:nvPr/>
              </p:nvSpPr>
              <p:spPr>
                <a:xfrm>
                  <a:off x="1018871" y="1462055"/>
                  <a:ext cx="1919613" cy="812253"/>
                </a:xfrm>
                <a:prstGeom prst="can">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sp>
              <p:nvSpPr>
                <p:cNvPr id="6" name="CasellaDiTesto 5"/>
                <p:cNvSpPr txBox="1"/>
                <p:nvPr/>
              </p:nvSpPr>
              <p:spPr>
                <a:xfrm>
                  <a:off x="1018872" y="1809298"/>
                  <a:ext cx="1919612" cy="276999"/>
                </a:xfrm>
                <a:prstGeom prst="rect">
                  <a:avLst/>
                </a:prstGeom>
                <a:noFill/>
              </p:spPr>
              <p:txBody>
                <a:bodyPr wrap="square" rtlCol="0" anchor="ctr"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black"/>
                      </a:solidFill>
                      <a:effectLst/>
                      <a:uLnTx/>
                      <a:uFillTx/>
                      <a:latin typeface="Century Gothic" panose="020B0502020202020204"/>
                      <a:ea typeface="+mn-ea"/>
                      <a:cs typeface="+mn-cs"/>
                    </a:rPr>
                    <a:t>Anagrafe assistibili</a:t>
                  </a:r>
                </a:p>
              </p:txBody>
            </p:sp>
          </p:grpSp>
        </p:grpSp>
        <p:cxnSp>
          <p:nvCxnSpPr>
            <p:cNvPr id="20" name="Connettore 1 19"/>
            <p:cNvCxnSpPr/>
            <p:nvPr/>
          </p:nvCxnSpPr>
          <p:spPr>
            <a:xfrm>
              <a:off x="1985787" y="1801716"/>
              <a:ext cx="0" cy="513194"/>
            </a:xfrm>
            <a:prstGeom prst="line">
              <a:avLst/>
            </a:prstGeom>
            <a:ln w="12700" cmpd="sng">
              <a:solidFill>
                <a:schemeClr val="tx1"/>
              </a:solidFill>
              <a:prstDash val="dash"/>
            </a:ln>
          </p:spPr>
          <p:style>
            <a:lnRef idx="2">
              <a:schemeClr val="accent1"/>
            </a:lnRef>
            <a:fillRef idx="0">
              <a:schemeClr val="accent1"/>
            </a:fillRef>
            <a:effectRef idx="1">
              <a:schemeClr val="accent1"/>
            </a:effectRef>
            <a:fontRef idx="minor">
              <a:schemeClr val="tx1"/>
            </a:fontRef>
          </p:style>
        </p:cxnSp>
        <p:cxnSp>
          <p:nvCxnSpPr>
            <p:cNvPr id="25" name="Connettore 1 24"/>
            <p:cNvCxnSpPr/>
            <p:nvPr/>
          </p:nvCxnSpPr>
          <p:spPr>
            <a:xfrm>
              <a:off x="1990527" y="5040628"/>
              <a:ext cx="0" cy="513194"/>
            </a:xfrm>
            <a:prstGeom prst="line">
              <a:avLst/>
            </a:prstGeom>
            <a:ln w="12700" cmpd="sng">
              <a:solidFill>
                <a:schemeClr val="tx1"/>
              </a:solidFill>
              <a:prstDash val="dash"/>
            </a:ln>
          </p:spPr>
          <p:style>
            <a:lnRef idx="2">
              <a:schemeClr val="accent1"/>
            </a:lnRef>
            <a:fillRef idx="0">
              <a:schemeClr val="accent1"/>
            </a:fillRef>
            <a:effectRef idx="1">
              <a:schemeClr val="accent1"/>
            </a:effectRef>
            <a:fontRef idx="minor">
              <a:schemeClr val="tx1"/>
            </a:fontRef>
          </p:style>
        </p:cxnSp>
        <p:sp>
          <p:nvSpPr>
            <p:cNvPr id="26" name="CasellaDiTesto 25"/>
            <p:cNvSpPr txBox="1"/>
            <p:nvPr/>
          </p:nvSpPr>
          <p:spPr>
            <a:xfrm>
              <a:off x="1023066" y="5501685"/>
              <a:ext cx="1919612" cy="461665"/>
            </a:xfrm>
            <a:prstGeom prst="rect">
              <a:avLst/>
            </a:prstGeom>
            <a:noFill/>
          </p:spPr>
          <p:txBody>
            <a:bodyPr wrap="square" rtlCol="0" anchor="ctr"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black"/>
                  </a:solidFill>
                  <a:effectLst/>
                  <a:uLnTx/>
                  <a:uFillTx/>
                  <a:latin typeface="Century Gothic" panose="020B0502020202020204"/>
                  <a:ea typeface="+mn-ea"/>
                  <a:cs typeface="+mn-cs"/>
                </a:rPr>
                <a:t>CONSUMO DI RISORSE SANITARIE</a:t>
              </a:r>
            </a:p>
          </p:txBody>
        </p:sp>
        <p:sp>
          <p:nvSpPr>
            <p:cNvPr id="27" name="CasellaDiTesto 26"/>
            <p:cNvSpPr txBox="1"/>
            <p:nvPr/>
          </p:nvSpPr>
          <p:spPr>
            <a:xfrm>
              <a:off x="1027806" y="1434162"/>
              <a:ext cx="1919612" cy="276999"/>
            </a:xfrm>
            <a:prstGeom prst="rect">
              <a:avLst/>
            </a:prstGeom>
            <a:noFill/>
          </p:spPr>
          <p:txBody>
            <a:bodyPr wrap="square" rtlCol="0" anchor="ctr"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black"/>
                  </a:solidFill>
                  <a:effectLst/>
                  <a:uLnTx/>
                  <a:uFillTx/>
                  <a:latin typeface="Century Gothic" panose="020B0502020202020204"/>
                  <a:ea typeface="+mn-ea"/>
                  <a:cs typeface="+mn-cs"/>
                </a:rPr>
                <a:t>PAZIENTE</a:t>
              </a:r>
            </a:p>
          </p:txBody>
        </p:sp>
      </p:grpSp>
      <p:grpSp>
        <p:nvGrpSpPr>
          <p:cNvPr id="48" name="Gruppo 47"/>
          <p:cNvGrpSpPr/>
          <p:nvPr/>
        </p:nvGrpSpPr>
        <p:grpSpPr>
          <a:xfrm>
            <a:off x="8015032" y="1439467"/>
            <a:ext cx="1928547" cy="2890072"/>
            <a:chOff x="6529653" y="1434162"/>
            <a:chExt cx="1928547" cy="2890072"/>
          </a:xfrm>
        </p:grpSpPr>
        <p:grpSp>
          <p:nvGrpSpPr>
            <p:cNvPr id="35" name="Gruppo 34"/>
            <p:cNvGrpSpPr/>
            <p:nvPr/>
          </p:nvGrpSpPr>
          <p:grpSpPr>
            <a:xfrm>
              <a:off x="6529653" y="2215223"/>
              <a:ext cx="1919613" cy="812253"/>
              <a:chOff x="1018871" y="1462055"/>
              <a:chExt cx="1919613" cy="812253"/>
            </a:xfrm>
            <a:solidFill>
              <a:schemeClr val="tx2"/>
            </a:solidFill>
          </p:grpSpPr>
          <p:sp>
            <p:nvSpPr>
              <p:cNvPr id="40" name="Cilindro 39"/>
              <p:cNvSpPr/>
              <p:nvPr/>
            </p:nvSpPr>
            <p:spPr>
              <a:xfrm>
                <a:off x="1018871" y="1462055"/>
                <a:ext cx="1919613" cy="812253"/>
              </a:xfrm>
              <a:prstGeom prst="can">
                <a:avLst/>
              </a:prstGeom>
              <a:ln/>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5" name="CasellaDiTesto 44"/>
              <p:cNvSpPr txBox="1"/>
              <p:nvPr/>
            </p:nvSpPr>
            <p:spPr>
              <a:xfrm>
                <a:off x="1018872" y="1716965"/>
                <a:ext cx="1919612" cy="461665"/>
              </a:xfrm>
              <a:prstGeom prst="rect">
                <a:avLst/>
              </a:prstGeom>
              <a:noFill/>
              <a:ln>
                <a:noFill/>
              </a:ln>
            </p:spPr>
            <p:style>
              <a:lnRef idx="1">
                <a:schemeClr val="accent2"/>
              </a:lnRef>
              <a:fillRef idx="2">
                <a:schemeClr val="accent2"/>
              </a:fillRef>
              <a:effectRef idx="1">
                <a:schemeClr val="accent2"/>
              </a:effectRef>
              <a:fontRef idx="minor">
                <a:schemeClr val="dk1"/>
              </a:fontRef>
            </p:style>
            <p:txBody>
              <a:bodyPr wrap="square" rtlCol="0" anchor="ctr"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333333"/>
                    </a:solidFill>
                    <a:effectLst/>
                    <a:uLnTx/>
                    <a:uFillTx/>
                    <a:latin typeface="Century Gothic" panose="020B0502020202020204"/>
                    <a:ea typeface="+mn-ea"/>
                    <a:cs typeface="+mn-cs"/>
                  </a:rPr>
                  <a:t>Database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333333"/>
                    </a:solidFill>
                    <a:effectLst/>
                    <a:uLnTx/>
                    <a:uFillTx/>
                    <a:latin typeface="Century Gothic" panose="020B0502020202020204"/>
                    <a:ea typeface="+mn-ea"/>
                    <a:cs typeface="+mn-cs"/>
                  </a:rPr>
                  <a:t>Integrato</a:t>
                </a:r>
              </a:p>
            </p:txBody>
          </p:sp>
        </p:grpSp>
        <p:cxnSp>
          <p:nvCxnSpPr>
            <p:cNvPr id="36" name="Connettore 1 35"/>
            <p:cNvCxnSpPr/>
            <p:nvPr/>
          </p:nvCxnSpPr>
          <p:spPr>
            <a:xfrm>
              <a:off x="7496569" y="1801716"/>
              <a:ext cx="0" cy="513194"/>
            </a:xfrm>
            <a:prstGeom prst="line">
              <a:avLst/>
            </a:prstGeom>
            <a:ln w="12700" cmpd="sng">
              <a:solidFill>
                <a:schemeClr val="tx1"/>
              </a:solidFill>
              <a:prstDash val="dash"/>
            </a:ln>
          </p:spPr>
          <p:style>
            <a:lnRef idx="2">
              <a:schemeClr val="accent1"/>
            </a:lnRef>
            <a:fillRef idx="0">
              <a:schemeClr val="accent1"/>
            </a:fillRef>
            <a:effectRef idx="1">
              <a:schemeClr val="accent1"/>
            </a:effectRef>
            <a:fontRef idx="minor">
              <a:schemeClr val="tx1"/>
            </a:fontRef>
          </p:style>
        </p:cxnSp>
        <p:cxnSp>
          <p:nvCxnSpPr>
            <p:cNvPr id="37" name="Connettore 1 36"/>
            <p:cNvCxnSpPr/>
            <p:nvPr/>
          </p:nvCxnSpPr>
          <p:spPr>
            <a:xfrm>
              <a:off x="7501309" y="3032180"/>
              <a:ext cx="0" cy="513194"/>
            </a:xfrm>
            <a:prstGeom prst="line">
              <a:avLst/>
            </a:prstGeom>
            <a:ln w="12700" cmpd="sng">
              <a:solidFill>
                <a:schemeClr val="tx1"/>
              </a:solidFill>
              <a:prstDash val="dash"/>
            </a:ln>
          </p:spPr>
          <p:style>
            <a:lnRef idx="2">
              <a:schemeClr val="accent1"/>
            </a:lnRef>
            <a:fillRef idx="0">
              <a:schemeClr val="accent1"/>
            </a:fillRef>
            <a:effectRef idx="1">
              <a:schemeClr val="accent1"/>
            </a:effectRef>
            <a:fontRef idx="minor">
              <a:schemeClr val="tx1"/>
            </a:fontRef>
          </p:style>
        </p:cxnSp>
        <p:sp>
          <p:nvSpPr>
            <p:cNvPr id="38" name="CasellaDiTesto 37"/>
            <p:cNvSpPr txBox="1"/>
            <p:nvPr/>
          </p:nvSpPr>
          <p:spPr>
            <a:xfrm>
              <a:off x="6533848" y="3493237"/>
              <a:ext cx="1919612" cy="830997"/>
            </a:xfrm>
            <a:prstGeom prst="rect">
              <a:avLst/>
            </a:prstGeom>
            <a:noFill/>
          </p:spPr>
          <p:txBody>
            <a:bodyPr wrap="square" rtlCol="0" anchor="ctr"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black"/>
                  </a:solidFill>
                  <a:effectLst/>
                  <a:uLnTx/>
                  <a:uFillTx/>
                  <a:latin typeface="Century Gothic" panose="020B0502020202020204"/>
                  <a:ea typeface="+mn-ea"/>
                  <a:cs typeface="+mn-cs"/>
                </a:rPr>
                <a:t>PROFILO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black"/>
                  </a:solidFill>
                  <a:effectLst/>
                  <a:uLnTx/>
                  <a:uFillTx/>
                  <a:latin typeface="Century Gothic" panose="020B0502020202020204"/>
                  <a:ea typeface="+mn-ea"/>
                  <a:cs typeface="+mn-cs"/>
                </a:rPr>
                <a:t>INDIVIDUALE, CRONOLOGICO E ANALITICO</a:t>
              </a:r>
            </a:p>
          </p:txBody>
        </p:sp>
        <p:sp>
          <p:nvSpPr>
            <p:cNvPr id="39" name="CasellaDiTesto 38"/>
            <p:cNvSpPr txBox="1"/>
            <p:nvPr/>
          </p:nvSpPr>
          <p:spPr>
            <a:xfrm>
              <a:off x="6538588" y="1434162"/>
              <a:ext cx="1919612" cy="276999"/>
            </a:xfrm>
            <a:prstGeom prst="rect">
              <a:avLst/>
            </a:prstGeom>
            <a:noFill/>
          </p:spPr>
          <p:txBody>
            <a:bodyPr wrap="square" rtlCol="0" anchor="ctr"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black"/>
                  </a:solidFill>
                  <a:effectLst/>
                  <a:uLnTx/>
                  <a:uFillTx/>
                  <a:latin typeface="Century Gothic" panose="020B0502020202020204"/>
                  <a:ea typeface="+mn-ea"/>
                  <a:cs typeface="+mn-cs"/>
                </a:rPr>
                <a:t>PAZIENTE</a:t>
              </a:r>
            </a:p>
          </p:txBody>
        </p:sp>
      </p:grpSp>
      <p:cxnSp>
        <p:nvCxnSpPr>
          <p:cNvPr id="71" name="Connettore 1 27"/>
          <p:cNvCxnSpPr>
            <a:stCxn id="44" idx="3"/>
            <a:endCxn id="39" idx="1"/>
          </p:cNvCxnSpPr>
          <p:nvPr/>
        </p:nvCxnSpPr>
        <p:spPr>
          <a:xfrm flipV="1">
            <a:off x="7231780" y="1577968"/>
            <a:ext cx="792186" cy="4595"/>
          </a:xfrm>
          <a:prstGeom prst="line">
            <a:avLst/>
          </a:prstGeom>
          <a:ln w="12700" cmpd="sng">
            <a:solidFill>
              <a:schemeClr val="tx1"/>
            </a:solidFill>
            <a:prstDash val="dash"/>
          </a:ln>
        </p:spPr>
        <p:style>
          <a:lnRef idx="2">
            <a:schemeClr val="accent1"/>
          </a:lnRef>
          <a:fillRef idx="0">
            <a:schemeClr val="accent1"/>
          </a:fillRef>
          <a:effectRef idx="1">
            <a:schemeClr val="accent1"/>
          </a:effectRef>
          <a:fontRef idx="minor">
            <a:schemeClr val="tx1"/>
          </a:fontRef>
        </p:style>
      </p:cxnSp>
      <p:sp>
        <p:nvSpPr>
          <p:cNvPr id="46" name="Titolo 1"/>
          <p:cNvSpPr>
            <a:spLocks noGrp="1"/>
          </p:cNvSpPr>
          <p:nvPr>
            <p:ph type="title"/>
          </p:nvPr>
        </p:nvSpPr>
        <p:spPr>
          <a:xfrm>
            <a:off x="1648604" y="225904"/>
            <a:ext cx="8830100" cy="778933"/>
          </a:xfr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normAutofit/>
          </a:bodyPr>
          <a:lstStyle/>
          <a:p>
            <a:pPr defTabSz="457200"/>
            <a:r>
              <a:rPr lang="it-IT" sz="2800" dirty="0">
                <a:solidFill>
                  <a:srgbClr val="640032"/>
                </a:solidFill>
              </a:rPr>
              <a:t>Fonte dei Dati</a:t>
            </a:r>
          </a:p>
        </p:txBody>
      </p:sp>
      <p:grpSp>
        <p:nvGrpSpPr>
          <p:cNvPr id="33" name="Gruppo 20"/>
          <p:cNvGrpSpPr/>
          <p:nvPr/>
        </p:nvGrpSpPr>
        <p:grpSpPr>
          <a:xfrm>
            <a:off x="5303234" y="1444062"/>
            <a:ext cx="1928547" cy="2565486"/>
            <a:chOff x="1018871" y="1434162"/>
            <a:chExt cx="1928547" cy="2565486"/>
          </a:xfrm>
        </p:grpSpPr>
        <p:grpSp>
          <p:nvGrpSpPr>
            <p:cNvPr id="49" name="Gruppo 6"/>
            <p:cNvGrpSpPr/>
            <p:nvPr/>
          </p:nvGrpSpPr>
          <p:grpSpPr>
            <a:xfrm>
              <a:off x="1018871" y="2215223"/>
              <a:ext cx="1919613" cy="812253"/>
              <a:chOff x="1018871" y="1462055"/>
              <a:chExt cx="1919613" cy="812253"/>
            </a:xfrm>
          </p:grpSpPr>
          <p:sp>
            <p:nvSpPr>
              <p:cNvPr id="50" name="Cilindro 4"/>
              <p:cNvSpPr/>
              <p:nvPr/>
            </p:nvSpPr>
            <p:spPr>
              <a:xfrm>
                <a:off x="1018871" y="1462055"/>
                <a:ext cx="1919613" cy="812253"/>
              </a:xfrm>
              <a:prstGeom prst="can">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sp>
            <p:nvSpPr>
              <p:cNvPr id="51" name="CasellaDiTesto 5"/>
              <p:cNvSpPr txBox="1"/>
              <p:nvPr/>
            </p:nvSpPr>
            <p:spPr>
              <a:xfrm>
                <a:off x="1018872" y="1716965"/>
                <a:ext cx="1919612" cy="461665"/>
              </a:xfrm>
              <a:prstGeom prst="rect">
                <a:avLst/>
              </a:prstGeom>
              <a:noFill/>
            </p:spPr>
            <p:txBody>
              <a:bodyPr wrap="square" rtlCol="0" anchor="ctr"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black"/>
                    </a:solidFill>
                    <a:effectLst/>
                    <a:uLnTx/>
                    <a:uFillTx/>
                    <a:latin typeface="Century Gothic" panose="020B0502020202020204"/>
                    <a:ea typeface="+mn-ea"/>
                    <a:cs typeface="+mn-cs"/>
                  </a:rPr>
                  <a:t>Laboratorio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black"/>
                    </a:solidFill>
                    <a:effectLst/>
                    <a:uLnTx/>
                    <a:uFillTx/>
                    <a:latin typeface="Century Gothic" panose="020B0502020202020204"/>
                    <a:ea typeface="+mn-ea"/>
                    <a:cs typeface="+mn-cs"/>
                  </a:rPr>
                  <a:t>analisi </a:t>
                </a:r>
              </a:p>
            </p:txBody>
          </p:sp>
        </p:grpSp>
        <p:cxnSp>
          <p:nvCxnSpPr>
            <p:cNvPr id="41" name="Connettore 1 19"/>
            <p:cNvCxnSpPr/>
            <p:nvPr/>
          </p:nvCxnSpPr>
          <p:spPr>
            <a:xfrm>
              <a:off x="1985787" y="1801716"/>
              <a:ext cx="0" cy="513194"/>
            </a:xfrm>
            <a:prstGeom prst="line">
              <a:avLst/>
            </a:prstGeom>
            <a:ln w="12700" cmpd="sng">
              <a:solidFill>
                <a:schemeClr val="tx1"/>
              </a:solidFill>
              <a:prstDash val="dash"/>
            </a:ln>
          </p:spPr>
          <p:style>
            <a:lnRef idx="2">
              <a:schemeClr val="accent1"/>
            </a:lnRef>
            <a:fillRef idx="0">
              <a:schemeClr val="accent1"/>
            </a:fillRef>
            <a:effectRef idx="1">
              <a:schemeClr val="accent1"/>
            </a:effectRef>
            <a:fontRef idx="minor">
              <a:schemeClr val="tx1"/>
            </a:fontRef>
          </p:style>
        </p:cxnSp>
        <p:sp>
          <p:nvSpPr>
            <p:cNvPr id="44" name="CasellaDiTesto 26"/>
            <p:cNvSpPr txBox="1"/>
            <p:nvPr/>
          </p:nvSpPr>
          <p:spPr>
            <a:xfrm>
              <a:off x="1027806" y="1434162"/>
              <a:ext cx="1919612" cy="276999"/>
            </a:xfrm>
            <a:prstGeom prst="rect">
              <a:avLst/>
            </a:prstGeom>
            <a:noFill/>
          </p:spPr>
          <p:txBody>
            <a:bodyPr wrap="square" rtlCol="0" anchor="ctr"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black"/>
                  </a:solidFill>
                  <a:effectLst/>
                  <a:uLnTx/>
                  <a:uFillTx/>
                  <a:latin typeface="Century Gothic" panose="020B0502020202020204"/>
                  <a:ea typeface="+mn-ea"/>
                  <a:cs typeface="+mn-cs"/>
                </a:rPr>
                <a:t>PAZIENTE</a:t>
              </a:r>
            </a:p>
          </p:txBody>
        </p:sp>
        <p:cxnSp>
          <p:nvCxnSpPr>
            <p:cNvPr id="56" name="Connettore 1 24"/>
            <p:cNvCxnSpPr/>
            <p:nvPr/>
          </p:nvCxnSpPr>
          <p:spPr>
            <a:xfrm>
              <a:off x="1990527" y="3219730"/>
              <a:ext cx="0" cy="256597"/>
            </a:xfrm>
            <a:prstGeom prst="line">
              <a:avLst/>
            </a:prstGeom>
            <a:ln w="12700" cmpd="sng">
              <a:solidFill>
                <a:schemeClr val="tx1"/>
              </a:solidFill>
              <a:prstDash val="dash"/>
            </a:ln>
          </p:spPr>
          <p:style>
            <a:lnRef idx="2">
              <a:schemeClr val="accent1"/>
            </a:lnRef>
            <a:fillRef idx="0">
              <a:schemeClr val="accent1"/>
            </a:fillRef>
            <a:effectRef idx="1">
              <a:schemeClr val="accent1"/>
            </a:effectRef>
            <a:fontRef idx="minor">
              <a:schemeClr val="tx1"/>
            </a:fontRef>
          </p:style>
        </p:cxnSp>
        <p:sp>
          <p:nvSpPr>
            <p:cNvPr id="57" name="CasellaDiTesto 25"/>
            <p:cNvSpPr txBox="1"/>
            <p:nvPr/>
          </p:nvSpPr>
          <p:spPr>
            <a:xfrm>
              <a:off x="1023066" y="3537983"/>
              <a:ext cx="1919612" cy="461665"/>
            </a:xfrm>
            <a:prstGeom prst="rect">
              <a:avLst/>
            </a:prstGeom>
            <a:noFill/>
          </p:spPr>
          <p:txBody>
            <a:bodyPr wrap="square" rtlCol="0" anchor="ctr"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black"/>
                  </a:solidFill>
                  <a:effectLst/>
                  <a:uLnTx/>
                  <a:uFillTx/>
                  <a:latin typeface="Century Gothic" panose="020B0502020202020204"/>
                  <a:ea typeface="+mn-ea"/>
                  <a:cs typeface="+mn-cs"/>
                </a:rPr>
                <a:t>PARAMETRI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black"/>
                  </a:solidFill>
                  <a:effectLst/>
                  <a:uLnTx/>
                  <a:uFillTx/>
                  <a:latin typeface="Century Gothic" panose="020B0502020202020204"/>
                  <a:ea typeface="+mn-ea"/>
                  <a:cs typeface="+mn-cs"/>
                </a:rPr>
                <a:t>CLINICI</a:t>
              </a:r>
            </a:p>
          </p:txBody>
        </p:sp>
      </p:grpSp>
      <p:cxnSp>
        <p:nvCxnSpPr>
          <p:cNvPr id="55" name="Connettore 1 27"/>
          <p:cNvCxnSpPr/>
          <p:nvPr/>
        </p:nvCxnSpPr>
        <p:spPr>
          <a:xfrm flipV="1">
            <a:off x="4205631" y="1572662"/>
            <a:ext cx="1011139" cy="1"/>
          </a:xfrm>
          <a:prstGeom prst="line">
            <a:avLst/>
          </a:prstGeom>
          <a:ln w="12700" cmpd="sng">
            <a:solidFill>
              <a:schemeClr val="tx1"/>
            </a:solidFill>
            <a:prstDash val="dash"/>
          </a:ln>
        </p:spPr>
        <p:style>
          <a:lnRef idx="2">
            <a:schemeClr val="accent1"/>
          </a:lnRef>
          <a:fillRef idx="0">
            <a:schemeClr val="accent1"/>
          </a:fillRef>
          <a:effectRef idx="1">
            <a:schemeClr val="accent1"/>
          </a:effectRef>
          <a:fontRef idx="minor">
            <a:schemeClr val="tx1"/>
          </a:fontRef>
        </p:style>
      </p:cxnSp>
      <p:sp>
        <p:nvSpPr>
          <p:cNvPr id="42" name="Rectangle 22"/>
          <p:cNvSpPr>
            <a:spLocks noChangeArrowheads="1"/>
          </p:cNvSpPr>
          <p:nvPr/>
        </p:nvSpPr>
        <p:spPr bwMode="auto">
          <a:xfrm>
            <a:off x="5051425" y="4405263"/>
            <a:ext cx="5043488" cy="2308324"/>
          </a:xfrm>
          <a:prstGeom prst="rect">
            <a:avLst/>
          </a:prstGeom>
          <a:noFill/>
          <a:ln w="25400">
            <a:solidFill>
              <a:srgbClr val="680047"/>
            </a:solidFill>
            <a:miter lim="800000"/>
            <a:headEnd/>
            <a:tailEnd/>
          </a:ln>
          <a:extLst>
            <a:ext uri="{909E8E84-426E-40dd-AFC4-6F175D3DCCD1}">
              <a14:hiddenFill xmlns="" xmlns:a14="http://schemas.microsoft.com/office/drawing/2010/main">
                <a:solidFill>
                  <a:srgbClr val="FFFFFF"/>
                </a:solidFill>
              </a14:hiddenFill>
            </a:ext>
          </a:extLst>
        </p:spPr>
        <p:txBody>
          <a:bodyPr anchor="ctr">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680047"/>
                </a:solidFill>
                <a:effectLst/>
                <a:uLnTx/>
                <a:uFillTx/>
                <a:latin typeface="Century Gothic" panose="020B0502020202020204"/>
                <a:ea typeface="+mn-ea"/>
                <a:cs typeface="+mn-cs"/>
              </a:rPr>
              <a:t>In ottemperanza alla normativa sulla </a:t>
            </a:r>
            <a:r>
              <a:rPr kumimoji="0" lang="it-IT" sz="1200" b="0" i="1" u="none" strike="noStrike" kern="1200" cap="none" spc="0" normalizeH="0" baseline="0" noProof="0" dirty="0">
                <a:ln>
                  <a:noFill/>
                </a:ln>
                <a:solidFill>
                  <a:srgbClr val="680047"/>
                </a:solidFill>
                <a:effectLst/>
                <a:uLnTx/>
                <a:uFillTx/>
                <a:latin typeface="Century Gothic" panose="020B0502020202020204"/>
                <a:ea typeface="+mn-ea"/>
                <a:cs typeface="+mn-cs"/>
              </a:rPr>
              <a:t>privacy</a:t>
            </a:r>
            <a:r>
              <a:rPr kumimoji="0" lang="it-IT" sz="1200" b="0" i="0" u="none" strike="noStrike" kern="1200" cap="none" spc="0" normalizeH="0" baseline="0" noProof="0" dirty="0">
                <a:ln>
                  <a:noFill/>
                </a:ln>
                <a:solidFill>
                  <a:srgbClr val="680047"/>
                </a:solidFill>
                <a:effectLst/>
                <a:uLnTx/>
                <a:uFillTx/>
                <a:latin typeface="Century Gothic" panose="020B0502020202020204"/>
                <a:ea typeface="+mn-ea"/>
                <a:cs typeface="+mn-cs"/>
              </a:rPr>
              <a:t>, il codice identificativo dell’assistibile è stato criptato presso la sede ASUGI da parte del personale della ASL e ai soggetti incaricati del trattamento di tali dati ai fini dell’analisi non è stato fornito alcun dato dal quale fosse possibile risalire in modo diretto o indiretto all’identità del paziente.</a:t>
            </a: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dirty="0">
              <a:ln>
                <a:noFill/>
              </a:ln>
              <a:solidFill>
                <a:srgbClr val="680047"/>
              </a:solidFill>
              <a:effectLst/>
              <a:uLnTx/>
              <a:uFillTx/>
              <a:latin typeface="Century Gothic" panose="020B0502020202020204"/>
              <a:ea typeface="+mn-ea"/>
              <a:cs typeface="+mn-cs"/>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680047"/>
                </a:solidFill>
                <a:effectLst/>
                <a:uLnTx/>
                <a:uFillTx/>
                <a:latin typeface="Century Gothic" panose="020B0502020202020204"/>
                <a:ea typeface="+mn-ea"/>
                <a:cs typeface="+mn-cs"/>
              </a:rPr>
              <a:t>In ottemperanza alla normativa vigente in materia di conduzione di analisi osservazionali, il presente studio è stato notificato al Comitato Etico della Regione FVG che ha autorizzato formalmente lo studio.</a:t>
            </a: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dirty="0">
              <a:ln>
                <a:noFill/>
              </a:ln>
              <a:solidFill>
                <a:srgbClr val="680047"/>
              </a:solidFill>
              <a:effectLst/>
              <a:uLnTx/>
              <a:uFillTx/>
              <a:latin typeface="Century Gothic" panose="020B0502020202020204"/>
              <a:ea typeface="+mn-ea"/>
              <a:cs typeface="+mn-cs"/>
            </a:endParaRPr>
          </a:p>
        </p:txBody>
      </p:sp>
      <p:sp>
        <p:nvSpPr>
          <p:cNvPr id="4" name="Rettangolo 3">
            <a:extLst>
              <a:ext uri="{FF2B5EF4-FFF2-40B4-BE49-F238E27FC236}">
                <a16:creationId xmlns:a16="http://schemas.microsoft.com/office/drawing/2014/main" id="{596CFE18-F865-4D49-BF7A-5E2A1911FA1B}"/>
              </a:ext>
            </a:extLst>
          </p:cNvPr>
          <p:cNvSpPr/>
          <p:nvPr/>
        </p:nvSpPr>
        <p:spPr bwMode="auto">
          <a:xfrm>
            <a:off x="3256888" y="1652904"/>
            <a:ext cx="2055281" cy="307777"/>
          </a:xfrm>
          <a:prstGeom prst="rect">
            <a:avLst/>
          </a:prstGeom>
          <a:solidFill>
            <a:schemeClr val="bg1"/>
          </a:solidFill>
          <a:ln w="25400"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it-IT" sz="1400" b="1" i="0" u="none" strike="noStrike" kern="1200" cap="none" spc="0" normalizeH="0" baseline="0" noProof="0">
              <a:ln>
                <a:noFill/>
              </a:ln>
              <a:solidFill>
                <a:prstClr val="black"/>
              </a:solidFill>
              <a:effectLst/>
              <a:uLnTx/>
              <a:uFillTx/>
              <a:latin typeface="Trebuchet MS" pitchFamily="34" charset="0"/>
              <a:ea typeface="+mn-ea"/>
              <a:cs typeface="+mn-cs"/>
            </a:endParaRPr>
          </a:p>
        </p:txBody>
      </p:sp>
    </p:spTree>
    <p:extLst>
      <p:ext uri="{BB962C8B-B14F-4D97-AF65-F5344CB8AC3E}">
        <p14:creationId xmlns:p14="http://schemas.microsoft.com/office/powerpoint/2010/main" val="24640854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olo 1"/>
          <p:cNvSpPr>
            <a:spLocks noGrp="1"/>
          </p:cNvSpPr>
          <p:nvPr>
            <p:ph type="title"/>
          </p:nvPr>
        </p:nvSpPr>
        <p:spPr>
          <a:xfrm>
            <a:off x="2167972" y="49771"/>
            <a:ext cx="7772400" cy="939800"/>
          </a:xfr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normAutofit/>
          </a:bodyPr>
          <a:lstStyle/>
          <a:p>
            <a:pPr defTabSz="457200"/>
            <a:r>
              <a:rPr lang="it-IT" sz="2800" dirty="0">
                <a:solidFill>
                  <a:srgbClr val="640032"/>
                </a:solidFill>
              </a:rPr>
              <a:t>DISEGNO DELLO STUDIO</a:t>
            </a:r>
          </a:p>
        </p:txBody>
      </p:sp>
      <p:sp>
        <p:nvSpPr>
          <p:cNvPr id="4" name="CasellaDiTesto 3">
            <a:extLst>
              <a:ext uri="{FF2B5EF4-FFF2-40B4-BE49-F238E27FC236}">
                <a16:creationId xmlns:a16="http://schemas.microsoft.com/office/drawing/2014/main" id="{D48E6CC3-0098-4343-92D0-6CE6727A7253}"/>
              </a:ext>
            </a:extLst>
          </p:cNvPr>
          <p:cNvSpPr txBox="1"/>
          <p:nvPr/>
        </p:nvSpPr>
        <p:spPr>
          <a:xfrm>
            <a:off x="3153220" y="798433"/>
            <a:ext cx="7791228" cy="923330"/>
          </a:xfrm>
          <a:prstGeom prst="rect">
            <a:avLst/>
          </a:prstGeom>
          <a:noFill/>
        </p:spPr>
        <p:txBody>
          <a:bodyPr wrap="squar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640032"/>
                </a:solidFill>
                <a:effectLst/>
                <a:uLnTx/>
                <a:uFillTx/>
                <a:latin typeface="Century Gothic" panose="020B0502020202020204"/>
                <a:ea typeface="+mn-ea"/>
                <a:cs typeface="+mn-cs"/>
              </a:rPr>
              <a:t>POPOLAZIONE: </a:t>
            </a:r>
            <a:r>
              <a:rPr kumimoji="0" lang="en-US" sz="1800" b="0" i="0" u="none" strike="noStrike" kern="1200" cap="none" spc="0" normalizeH="0" baseline="0" noProof="0" dirty="0" err="1">
                <a:ln>
                  <a:noFill/>
                </a:ln>
                <a:solidFill>
                  <a:prstClr val="black"/>
                </a:solidFill>
                <a:effectLst/>
                <a:uLnTx/>
                <a:uFillTx/>
                <a:latin typeface="Titillium Web"/>
                <a:ea typeface="+mn-ea"/>
                <a:cs typeface="+mn-cs"/>
              </a:rPr>
              <a:t>tutti</a:t>
            </a:r>
            <a:r>
              <a:rPr kumimoji="0" lang="en-US" sz="1800" b="0" i="0" u="none" strike="noStrike" kern="1200" cap="none" spc="0" normalizeH="0" baseline="0" noProof="0" dirty="0">
                <a:ln>
                  <a:noFill/>
                </a:ln>
                <a:solidFill>
                  <a:prstClr val="black"/>
                </a:solidFill>
                <a:effectLst/>
                <a:uLnTx/>
                <a:uFillTx/>
                <a:latin typeface="Titillium Web"/>
                <a:ea typeface="+mn-ea"/>
                <a:cs typeface="+mn-cs"/>
              </a:rPr>
              <a:t> </a:t>
            </a:r>
            <a:r>
              <a:rPr kumimoji="0" lang="en-US" sz="1800" b="0" i="0" u="none" strike="noStrike" kern="1200" cap="none" spc="0" normalizeH="0" baseline="0" noProof="0" dirty="0" err="1">
                <a:ln>
                  <a:noFill/>
                </a:ln>
                <a:solidFill>
                  <a:prstClr val="black"/>
                </a:solidFill>
                <a:effectLst/>
                <a:uLnTx/>
                <a:uFillTx/>
                <a:latin typeface="Titillium Web"/>
                <a:ea typeface="+mn-ea"/>
                <a:cs typeface="+mn-cs"/>
              </a:rPr>
              <a:t>i</a:t>
            </a:r>
            <a:r>
              <a:rPr kumimoji="0" lang="en-US" sz="1800" b="0" i="0" u="none" strike="noStrike" kern="1200" cap="none" spc="0" normalizeH="0" baseline="0" noProof="0" dirty="0">
                <a:ln>
                  <a:noFill/>
                </a:ln>
                <a:solidFill>
                  <a:prstClr val="black"/>
                </a:solidFill>
                <a:effectLst/>
                <a:uLnTx/>
                <a:uFillTx/>
                <a:latin typeface="Titillium Web"/>
                <a:ea typeface="+mn-ea"/>
                <a:cs typeface="+mn-cs"/>
              </a:rPr>
              <a:t> </a:t>
            </a:r>
            <a:r>
              <a:rPr kumimoji="0" lang="en-US" sz="1800" b="0" i="0" u="none" strike="noStrike" kern="1200" cap="none" spc="0" normalizeH="0" baseline="0" noProof="0" dirty="0" err="1">
                <a:ln>
                  <a:noFill/>
                </a:ln>
                <a:solidFill>
                  <a:prstClr val="black"/>
                </a:solidFill>
                <a:effectLst/>
                <a:uLnTx/>
                <a:uFillTx/>
                <a:latin typeface="Titillium Web"/>
                <a:ea typeface="+mn-ea"/>
                <a:cs typeface="+mn-cs"/>
              </a:rPr>
              <a:t>pazienti</a:t>
            </a:r>
            <a:r>
              <a:rPr kumimoji="0" lang="en-US" sz="1800" b="0" i="0" u="none" strike="noStrike" kern="1200" cap="none" spc="0" normalizeH="0" baseline="0" noProof="0" dirty="0">
                <a:ln>
                  <a:noFill/>
                </a:ln>
                <a:solidFill>
                  <a:prstClr val="black"/>
                </a:solidFill>
                <a:effectLst/>
                <a:uLnTx/>
                <a:uFillTx/>
                <a:latin typeface="Titillium Web"/>
                <a:ea typeface="+mn-ea"/>
                <a:cs typeface="+mn-cs"/>
              </a:rPr>
              <a:t> </a:t>
            </a:r>
            <a:r>
              <a:rPr kumimoji="0" lang="en-US" sz="1800" b="0" i="0" u="none" strike="noStrike" kern="1200" cap="none" spc="0" normalizeH="0" baseline="0" noProof="0" dirty="0" err="1">
                <a:ln>
                  <a:noFill/>
                </a:ln>
                <a:solidFill>
                  <a:prstClr val="black"/>
                </a:solidFill>
                <a:effectLst/>
                <a:uLnTx/>
                <a:uFillTx/>
                <a:latin typeface="Titillium Web"/>
                <a:ea typeface="+mn-ea"/>
                <a:cs typeface="+mn-cs"/>
              </a:rPr>
              <a:t>che</a:t>
            </a:r>
            <a:r>
              <a:rPr kumimoji="0" lang="en-US" sz="1800" b="0" i="0" u="none" strike="noStrike" kern="1200" cap="none" spc="0" normalizeH="0" baseline="0" noProof="0" dirty="0">
                <a:ln>
                  <a:noFill/>
                </a:ln>
                <a:solidFill>
                  <a:prstClr val="black"/>
                </a:solidFill>
                <a:effectLst/>
                <a:uLnTx/>
                <a:uFillTx/>
                <a:latin typeface="Titillium Web"/>
                <a:ea typeface="+mn-ea"/>
                <a:cs typeface="+mn-cs"/>
              </a:rPr>
              <a:t> </a:t>
            </a:r>
            <a:r>
              <a:rPr kumimoji="0" lang="en-US" sz="1800" b="0" i="0" u="none" strike="noStrike" kern="1200" cap="none" spc="0" normalizeH="0" baseline="0" noProof="0" dirty="0" err="1">
                <a:ln>
                  <a:noFill/>
                </a:ln>
                <a:solidFill>
                  <a:prstClr val="black"/>
                </a:solidFill>
                <a:effectLst/>
                <a:uLnTx/>
                <a:uFillTx/>
                <a:latin typeface="Titillium Web"/>
                <a:ea typeface="+mn-ea"/>
                <a:cs typeface="+mn-cs"/>
              </a:rPr>
              <a:t>sono</a:t>
            </a:r>
            <a:r>
              <a:rPr kumimoji="0" lang="en-US" sz="1800" b="0" i="0" u="none" strike="noStrike" kern="1200" cap="none" spc="0" normalizeH="0" baseline="0" noProof="0" dirty="0">
                <a:ln>
                  <a:noFill/>
                </a:ln>
                <a:solidFill>
                  <a:prstClr val="black"/>
                </a:solidFill>
                <a:effectLst/>
                <a:uLnTx/>
                <a:uFillTx/>
                <a:latin typeface="Titillium Web"/>
                <a:ea typeface="+mn-ea"/>
                <a:cs typeface="+mn-cs"/>
              </a:rPr>
              <a:t> </a:t>
            </a:r>
            <a:r>
              <a:rPr kumimoji="0" lang="en-US" sz="1800" b="0" i="0" u="none" strike="noStrike" kern="1200" cap="none" spc="0" normalizeH="0" baseline="0" noProof="0" dirty="0" err="1">
                <a:ln>
                  <a:noFill/>
                </a:ln>
                <a:solidFill>
                  <a:prstClr val="black"/>
                </a:solidFill>
                <a:effectLst/>
                <a:uLnTx/>
                <a:uFillTx/>
                <a:latin typeface="Titillium Web"/>
                <a:ea typeface="+mn-ea"/>
                <a:cs typeface="+mn-cs"/>
              </a:rPr>
              <a:t>passati</a:t>
            </a:r>
            <a:r>
              <a:rPr kumimoji="0" lang="en-US" sz="1800" b="0" i="0" u="none" strike="noStrike" kern="1200" cap="none" spc="0" normalizeH="0" baseline="0" noProof="0" dirty="0">
                <a:ln>
                  <a:noFill/>
                </a:ln>
                <a:solidFill>
                  <a:prstClr val="black"/>
                </a:solidFill>
                <a:effectLst/>
                <a:uLnTx/>
                <a:uFillTx/>
                <a:latin typeface="Titillium Web"/>
                <a:ea typeface="+mn-ea"/>
                <a:cs typeface="+mn-cs"/>
              </a:rPr>
              <a:t> da </a:t>
            </a:r>
            <a:r>
              <a:rPr kumimoji="0" lang="en-US" sz="1800" b="0" i="0" u="none" strike="noStrike" kern="1200" cap="none" spc="0" normalizeH="0" baseline="0" noProof="0" dirty="0" err="1">
                <a:ln>
                  <a:noFill/>
                </a:ln>
                <a:solidFill>
                  <a:prstClr val="black"/>
                </a:solidFill>
                <a:effectLst/>
                <a:uLnTx/>
                <a:uFillTx/>
                <a:latin typeface="Titillium Web"/>
                <a:ea typeface="+mn-ea"/>
                <a:cs typeface="+mn-cs"/>
              </a:rPr>
              <a:t>metformina</a:t>
            </a:r>
            <a:r>
              <a:rPr kumimoji="0" lang="en-US" sz="1800" b="0" i="0" u="none" strike="noStrike" kern="1200" cap="none" spc="0" normalizeH="0" baseline="0" noProof="0" dirty="0">
                <a:ln>
                  <a:noFill/>
                </a:ln>
                <a:solidFill>
                  <a:prstClr val="black"/>
                </a:solidFill>
                <a:effectLst/>
                <a:uLnTx/>
                <a:uFillTx/>
                <a:latin typeface="Titillium Web"/>
                <a:ea typeface="+mn-ea"/>
                <a:cs typeface="+mn-cs"/>
              </a:rPr>
              <a:t> a </a:t>
            </a:r>
            <a:r>
              <a:rPr kumimoji="0" lang="en-US" sz="1800" b="0" i="0" u="none" strike="noStrike" kern="1200" cap="none" spc="0" normalizeH="0" baseline="0" noProof="0" dirty="0" err="1">
                <a:ln>
                  <a:noFill/>
                </a:ln>
                <a:solidFill>
                  <a:prstClr val="black"/>
                </a:solidFill>
                <a:effectLst/>
                <a:uLnTx/>
                <a:uFillTx/>
                <a:latin typeface="Titillium Web"/>
                <a:ea typeface="+mn-ea"/>
                <a:cs typeface="+mn-cs"/>
              </a:rPr>
              <a:t>Sulf</a:t>
            </a:r>
            <a:r>
              <a:rPr kumimoji="0" lang="en-US" sz="1800" b="0" i="0" u="none" strike="noStrike" kern="1200" cap="none" spc="0" normalizeH="0" baseline="0" noProof="0" dirty="0">
                <a:ln>
                  <a:noFill/>
                </a:ln>
                <a:solidFill>
                  <a:prstClr val="black"/>
                </a:solidFill>
                <a:effectLst/>
                <a:uLnTx/>
                <a:uFillTx/>
                <a:latin typeface="Titillium Web"/>
                <a:ea typeface="+mn-ea"/>
                <a:cs typeface="+mn-cs"/>
              </a:rPr>
              <a:t>+/-Met vs DPP4+/-Met vs SGLT-2+/-Met vs GLP-1+/-Met </a:t>
            </a:r>
            <a:r>
              <a:rPr kumimoji="0" lang="en-US" sz="1800" b="0" i="0" u="none" strike="noStrike" kern="1200" cap="none" spc="0" normalizeH="0" baseline="0" noProof="0" dirty="0" err="1">
                <a:ln>
                  <a:noFill/>
                </a:ln>
                <a:solidFill>
                  <a:prstClr val="black"/>
                </a:solidFill>
                <a:effectLst/>
                <a:uLnTx/>
                <a:uFillTx/>
                <a:latin typeface="Titillium Web"/>
                <a:ea typeface="+mn-ea"/>
                <a:cs typeface="+mn-cs"/>
              </a:rPr>
              <a:t>nel</a:t>
            </a:r>
            <a:r>
              <a:rPr kumimoji="0" lang="en-US" sz="1800" b="0" i="0" u="none" strike="noStrike" kern="1200" cap="none" spc="0" normalizeH="0" baseline="0" noProof="0" dirty="0">
                <a:ln>
                  <a:noFill/>
                </a:ln>
                <a:solidFill>
                  <a:prstClr val="black"/>
                </a:solidFill>
                <a:effectLst/>
                <a:uLnTx/>
                <a:uFillTx/>
                <a:latin typeface="Titillium Web"/>
                <a:ea typeface="+mn-ea"/>
                <a:cs typeface="+mn-cs"/>
              </a:rPr>
              <a:t> </a:t>
            </a:r>
            <a:r>
              <a:rPr kumimoji="0" lang="en-US" sz="1800" b="0" i="0" u="none" strike="noStrike" kern="1200" cap="none" spc="0" normalizeH="0" baseline="0" noProof="0" dirty="0" err="1">
                <a:ln>
                  <a:noFill/>
                </a:ln>
                <a:solidFill>
                  <a:prstClr val="black"/>
                </a:solidFill>
                <a:effectLst/>
                <a:uLnTx/>
                <a:uFillTx/>
                <a:latin typeface="Titillium Web"/>
                <a:ea typeface="+mn-ea"/>
                <a:cs typeface="+mn-cs"/>
              </a:rPr>
              <a:t>periodo</a:t>
            </a:r>
            <a:r>
              <a:rPr kumimoji="0" lang="en-US" sz="1800" b="0" i="0" u="none" strike="noStrike" kern="1200" cap="none" spc="0" normalizeH="0" baseline="0" noProof="0" dirty="0">
                <a:ln>
                  <a:noFill/>
                </a:ln>
                <a:solidFill>
                  <a:prstClr val="black"/>
                </a:solidFill>
                <a:effectLst/>
                <a:uLnTx/>
                <a:uFillTx/>
                <a:latin typeface="Titillium Web"/>
                <a:ea typeface="+mn-ea"/>
                <a:cs typeface="+mn-cs"/>
              </a:rPr>
              <a:t> </a:t>
            </a:r>
            <a:r>
              <a:rPr kumimoji="0" lang="en-US" sz="1800" b="0" i="0" u="none" strike="noStrike" kern="1200" cap="none" spc="0" normalizeH="0" baseline="0" noProof="0" dirty="0" err="1">
                <a:ln>
                  <a:noFill/>
                </a:ln>
                <a:solidFill>
                  <a:prstClr val="black"/>
                </a:solidFill>
                <a:effectLst/>
                <a:uLnTx/>
                <a:uFillTx/>
                <a:latin typeface="Titillium Web"/>
                <a:ea typeface="+mn-ea"/>
                <a:cs typeface="+mn-cs"/>
              </a:rPr>
              <a:t>tra</a:t>
            </a:r>
            <a:r>
              <a:rPr kumimoji="0" lang="en-US" sz="1800" b="0" i="0" u="none" strike="noStrike" kern="1200" cap="none" spc="0" normalizeH="0" baseline="0" noProof="0" dirty="0">
                <a:ln>
                  <a:noFill/>
                </a:ln>
                <a:solidFill>
                  <a:prstClr val="black"/>
                </a:solidFill>
                <a:effectLst/>
                <a:uLnTx/>
                <a:uFillTx/>
                <a:latin typeface="Titillium Web"/>
                <a:ea typeface="+mn-ea"/>
                <a:cs typeface="+mn-cs"/>
              </a:rPr>
              <a:t> </a:t>
            </a:r>
            <a:r>
              <a:rPr kumimoji="0" lang="en-US" sz="1800" b="0" i="0" u="none" strike="noStrike" kern="1200" cap="none" spc="0" normalizeH="0" baseline="0" noProof="0" dirty="0" err="1">
                <a:ln>
                  <a:noFill/>
                </a:ln>
                <a:solidFill>
                  <a:prstClr val="black"/>
                </a:solidFill>
                <a:effectLst/>
                <a:uLnTx/>
                <a:uFillTx/>
                <a:latin typeface="Titillium Web"/>
                <a:ea typeface="+mn-ea"/>
                <a:cs typeface="+mn-cs"/>
              </a:rPr>
              <a:t>gennaio</a:t>
            </a:r>
            <a:r>
              <a:rPr kumimoji="0" lang="en-US" sz="1800" b="0" i="0" u="none" strike="noStrike" kern="1200" cap="none" spc="0" normalizeH="0" baseline="0" noProof="0" dirty="0">
                <a:ln>
                  <a:noFill/>
                </a:ln>
                <a:solidFill>
                  <a:prstClr val="black"/>
                </a:solidFill>
                <a:effectLst/>
                <a:uLnTx/>
                <a:uFillTx/>
                <a:latin typeface="Titillium Web"/>
                <a:ea typeface="+mn-ea"/>
                <a:cs typeface="+mn-cs"/>
              </a:rPr>
              <a:t> 2015 e </a:t>
            </a:r>
            <a:r>
              <a:rPr kumimoji="0" lang="en-US" sz="1800" b="0" i="0" u="none" strike="noStrike" kern="1200" cap="none" spc="0" normalizeH="0" baseline="0" noProof="0" dirty="0" err="1">
                <a:ln>
                  <a:noFill/>
                </a:ln>
                <a:solidFill>
                  <a:prstClr val="black"/>
                </a:solidFill>
                <a:effectLst/>
                <a:uLnTx/>
                <a:uFillTx/>
                <a:latin typeface="Titillium Web"/>
                <a:ea typeface="+mn-ea"/>
                <a:cs typeface="+mn-cs"/>
              </a:rPr>
              <a:t>dicembre</a:t>
            </a:r>
            <a:r>
              <a:rPr kumimoji="0" lang="en-US" sz="1800" b="0" i="0" u="none" strike="noStrike" kern="1200" cap="none" spc="0" normalizeH="0" baseline="0" noProof="0" dirty="0">
                <a:ln>
                  <a:noFill/>
                </a:ln>
                <a:solidFill>
                  <a:prstClr val="black"/>
                </a:solidFill>
                <a:effectLst/>
                <a:uLnTx/>
                <a:uFillTx/>
                <a:latin typeface="Titillium Web"/>
                <a:ea typeface="+mn-ea"/>
                <a:cs typeface="+mn-cs"/>
              </a:rPr>
              <a:t> 2017 (</a:t>
            </a:r>
            <a:r>
              <a:rPr kumimoji="0" lang="en-US" sz="1800" b="0" i="0" u="none" strike="noStrike" kern="1200" cap="none" spc="0" normalizeH="0" baseline="0" noProof="0" dirty="0" err="1">
                <a:ln>
                  <a:noFill/>
                </a:ln>
                <a:solidFill>
                  <a:prstClr val="black"/>
                </a:solidFill>
                <a:effectLst/>
                <a:uLnTx/>
                <a:uFillTx/>
                <a:latin typeface="Titillium Web"/>
                <a:ea typeface="+mn-ea"/>
                <a:cs typeface="+mn-cs"/>
              </a:rPr>
              <a:t>periodo</a:t>
            </a:r>
            <a:r>
              <a:rPr kumimoji="0" lang="en-US" sz="1800" b="0" i="0" u="none" strike="noStrike" kern="1200" cap="none" spc="0" normalizeH="0" baseline="0" noProof="0" dirty="0">
                <a:ln>
                  <a:noFill/>
                </a:ln>
                <a:solidFill>
                  <a:prstClr val="black"/>
                </a:solidFill>
                <a:effectLst/>
                <a:uLnTx/>
                <a:uFillTx/>
                <a:latin typeface="Titillium Web"/>
                <a:ea typeface="+mn-ea"/>
                <a:cs typeface="+mn-cs"/>
              </a:rPr>
              <a:t> di </a:t>
            </a:r>
            <a:r>
              <a:rPr kumimoji="0" lang="en-US" sz="1800" b="0" i="0" u="none" strike="noStrike" kern="1200" cap="none" spc="0" normalizeH="0" baseline="0" noProof="0" dirty="0" err="1">
                <a:ln>
                  <a:noFill/>
                </a:ln>
                <a:solidFill>
                  <a:prstClr val="black"/>
                </a:solidFill>
                <a:effectLst/>
                <a:uLnTx/>
                <a:uFillTx/>
                <a:latin typeface="Titillium Web"/>
                <a:ea typeface="Times New Roman" panose="02020603050405020304" pitchFamily="18" charset="0"/>
                <a:cs typeface="+mn-cs"/>
              </a:rPr>
              <a:t>inclusione</a:t>
            </a:r>
            <a:r>
              <a:rPr kumimoji="0" lang="en-US" sz="1800" b="0" i="0" u="none" strike="noStrike" kern="1200" cap="none" spc="0" normalizeH="0" baseline="0" noProof="0" dirty="0">
                <a:ln>
                  <a:noFill/>
                </a:ln>
                <a:solidFill>
                  <a:prstClr val="black"/>
                </a:solidFill>
                <a:effectLst/>
                <a:uLnTx/>
                <a:uFillTx/>
                <a:latin typeface="Titillium Web"/>
                <a:ea typeface="Times New Roman" panose="02020603050405020304" pitchFamily="18" charset="0"/>
                <a:cs typeface="+mn-cs"/>
              </a:rPr>
              <a:t>)</a:t>
            </a:r>
            <a:endParaRPr kumimoji="0" lang="it-IT" sz="1800" b="0" i="0" u="none" strike="noStrike" kern="1200" cap="none" spc="0" normalizeH="0" baseline="0" noProof="0" dirty="0">
              <a:ln>
                <a:noFill/>
              </a:ln>
              <a:solidFill>
                <a:prstClr val="black"/>
              </a:solidFill>
              <a:effectLst/>
              <a:uLnTx/>
              <a:uFillTx/>
              <a:latin typeface="Century Gothic" panose="020B0502020202020204"/>
              <a:ea typeface="+mn-ea"/>
              <a:cs typeface="+mn-cs"/>
            </a:endParaRPr>
          </a:p>
        </p:txBody>
      </p:sp>
      <p:sp>
        <p:nvSpPr>
          <p:cNvPr id="21" name="CasellaDiTesto 20">
            <a:extLst>
              <a:ext uri="{FF2B5EF4-FFF2-40B4-BE49-F238E27FC236}">
                <a16:creationId xmlns:a16="http://schemas.microsoft.com/office/drawing/2014/main" id="{A04AD896-7241-0E41-A7CB-6E75EA5ACA4A}"/>
              </a:ext>
            </a:extLst>
          </p:cNvPr>
          <p:cNvSpPr txBox="1"/>
          <p:nvPr/>
        </p:nvSpPr>
        <p:spPr>
          <a:xfrm>
            <a:off x="1707497" y="5627657"/>
            <a:ext cx="4051153" cy="941796"/>
          </a:xfrm>
          <a:prstGeom prst="rect">
            <a:avLst/>
          </a:prstGeom>
          <a:noFill/>
          <a:ln>
            <a:solidFill>
              <a:schemeClr val="tx1"/>
            </a:solidFill>
          </a:ln>
        </p:spPr>
        <p:txBody>
          <a:bodyPr wrap="square">
            <a:spAutoFit/>
          </a:bodyPr>
          <a:lstStyle/>
          <a:p>
            <a:pPr marL="0" marR="0" lvl="2" indent="0" algn="just" defTabSz="457200" rtl="0" eaLnBrk="1" fontAlgn="auto" latinLnBrk="0" hangingPunct="1">
              <a:lnSpc>
                <a:spcPct val="115000"/>
              </a:lnSpc>
              <a:spcBef>
                <a:spcPts val="0"/>
              </a:spcBef>
              <a:spcAft>
                <a:spcPts val="0"/>
              </a:spcAft>
              <a:buClrTx/>
              <a:buSzTx/>
              <a:buFontTx/>
              <a:buNone/>
              <a:tabLst>
                <a:tab pos="521335" algn="l"/>
              </a:tabLst>
              <a:defRPr/>
            </a:pPr>
            <a:r>
              <a:rPr kumimoji="0" lang="it-IT" sz="1200" b="0" i="0" u="none" strike="noStrike" kern="1200" cap="none" spc="0" normalizeH="0" baseline="0" noProof="0" dirty="0">
                <a:ln>
                  <a:noFill/>
                </a:ln>
                <a:solidFill>
                  <a:srgbClr val="640032"/>
                </a:solidFill>
                <a:effectLst/>
                <a:uLnTx/>
                <a:uFillTx/>
                <a:latin typeface="Century Gothic" panose="020B0502020202020204"/>
                <a:ea typeface="+mn-ea"/>
                <a:cs typeface="+mn-cs"/>
              </a:rPr>
              <a:t>PERIODO DI INCLUSIONE: </a:t>
            </a:r>
            <a:r>
              <a:rPr kumimoji="0" lang="it-IT" sz="1200" b="0" i="0" u="none" strike="noStrike" kern="1200" cap="none" spc="0" normalizeH="0" baseline="0" noProof="0" dirty="0">
                <a:ln>
                  <a:noFill/>
                </a:ln>
                <a:solidFill>
                  <a:prstClr val="black"/>
                </a:solidFill>
                <a:effectLst/>
                <a:uLnTx/>
                <a:uFillTx/>
                <a:latin typeface="Titillium Web"/>
                <a:ea typeface="+mn-ea"/>
                <a:cs typeface="+mn-cs"/>
              </a:rPr>
              <a:t>Gennaio 2015-Dicembre 2017</a:t>
            </a:r>
            <a:endParaRPr kumimoji="0" lang="en-US" sz="1200" b="0" i="0" u="none" strike="noStrike" kern="1200" cap="none" spc="0" normalizeH="0" baseline="0" noProof="0" dirty="0">
              <a:ln>
                <a:noFill/>
              </a:ln>
              <a:solidFill>
                <a:prstClr val="black"/>
              </a:solidFill>
              <a:effectLst/>
              <a:uLnTx/>
              <a:uFillTx/>
              <a:latin typeface="Titillium Web"/>
              <a:ea typeface="+mn-ea"/>
              <a:cs typeface="+mn-cs"/>
            </a:endParaRPr>
          </a:p>
          <a:p>
            <a:pPr marL="0" marR="0" lvl="2" indent="0" algn="just" defTabSz="457200" rtl="0" eaLnBrk="1" fontAlgn="auto" latinLnBrk="0" hangingPunct="1">
              <a:lnSpc>
                <a:spcPct val="115000"/>
              </a:lnSpc>
              <a:spcBef>
                <a:spcPts val="0"/>
              </a:spcBef>
              <a:spcAft>
                <a:spcPts val="0"/>
              </a:spcAft>
              <a:buClrTx/>
              <a:buSzTx/>
              <a:buFontTx/>
              <a:buNone/>
              <a:tabLst>
                <a:tab pos="521335" algn="l"/>
              </a:tabLst>
              <a:defRPr/>
            </a:pPr>
            <a:r>
              <a:rPr kumimoji="0" lang="en-US" sz="1200" b="0" i="0" u="none" strike="noStrike" kern="1200" cap="none" spc="0" normalizeH="0" baseline="0" noProof="0" dirty="0">
                <a:ln>
                  <a:noFill/>
                </a:ln>
                <a:solidFill>
                  <a:srgbClr val="640032"/>
                </a:solidFill>
                <a:effectLst/>
                <a:uLnTx/>
                <a:uFillTx/>
                <a:latin typeface="Century Gothic" panose="020B0502020202020204"/>
                <a:ea typeface="+mn-ea"/>
                <a:cs typeface="+mn-cs"/>
              </a:rPr>
              <a:t>DATA INDICE: </a:t>
            </a:r>
            <a:r>
              <a:rPr kumimoji="0" lang="en-US" sz="1200" b="0" i="0" u="none" strike="noStrike" kern="1200" cap="none" spc="0" normalizeH="0" baseline="0" noProof="0" dirty="0">
                <a:ln>
                  <a:noFill/>
                </a:ln>
                <a:solidFill>
                  <a:prstClr val="black"/>
                </a:solidFill>
                <a:effectLst/>
                <a:uLnTx/>
                <a:uFillTx/>
                <a:latin typeface="Titillium Web"/>
                <a:ea typeface="+mn-ea"/>
                <a:cs typeface="+mn-cs"/>
              </a:rPr>
              <a:t>data </a:t>
            </a:r>
            <a:r>
              <a:rPr kumimoji="0" lang="en-US" sz="1200" b="0" i="0" u="none" strike="noStrike" kern="1200" cap="none" spc="0" normalizeH="0" baseline="0" noProof="0" dirty="0" err="1">
                <a:ln>
                  <a:noFill/>
                </a:ln>
                <a:solidFill>
                  <a:prstClr val="black"/>
                </a:solidFill>
                <a:effectLst/>
                <a:uLnTx/>
                <a:uFillTx/>
                <a:latin typeface="Titillium Web"/>
                <a:ea typeface="+mn-ea"/>
                <a:cs typeface="+mn-cs"/>
              </a:rPr>
              <a:t>della</a:t>
            </a:r>
            <a:r>
              <a:rPr kumimoji="0" lang="en-US" sz="1200" b="0" i="0" u="none" strike="noStrike" kern="1200" cap="none" spc="0" normalizeH="0" baseline="0" noProof="0" dirty="0">
                <a:ln>
                  <a:noFill/>
                </a:ln>
                <a:solidFill>
                  <a:prstClr val="black"/>
                </a:solidFill>
                <a:effectLst/>
                <a:uLnTx/>
                <a:uFillTx/>
                <a:latin typeface="Titillium Web"/>
                <a:ea typeface="+mn-ea"/>
                <a:cs typeface="+mn-cs"/>
              </a:rPr>
              <a:t> prima </a:t>
            </a:r>
            <a:r>
              <a:rPr kumimoji="0" lang="en-US" sz="1200" b="0" i="0" u="none" strike="noStrike" kern="1200" cap="none" spc="0" normalizeH="0" baseline="0" noProof="0" dirty="0" err="1">
                <a:ln>
                  <a:noFill/>
                </a:ln>
                <a:solidFill>
                  <a:prstClr val="black"/>
                </a:solidFill>
                <a:effectLst/>
                <a:uLnTx/>
                <a:uFillTx/>
                <a:latin typeface="Titillium Web"/>
                <a:ea typeface="+mn-ea"/>
                <a:cs typeface="+mn-cs"/>
              </a:rPr>
              <a:t>prescrizione</a:t>
            </a:r>
            <a:r>
              <a:rPr kumimoji="0" lang="en-US" sz="1200" b="0" i="0" u="none" strike="noStrike" kern="1200" cap="none" spc="0" normalizeH="0" baseline="0" noProof="0" dirty="0">
                <a:ln>
                  <a:noFill/>
                </a:ln>
                <a:solidFill>
                  <a:prstClr val="black"/>
                </a:solidFill>
                <a:effectLst/>
                <a:uLnTx/>
                <a:uFillTx/>
                <a:latin typeface="Titillium Web"/>
                <a:ea typeface="+mn-ea"/>
                <a:cs typeface="+mn-cs"/>
              </a:rPr>
              <a:t> di </a:t>
            </a:r>
            <a:r>
              <a:rPr kumimoji="0" lang="en-US" sz="1200" b="0" i="0" u="none" strike="noStrike" kern="1200" cap="none" spc="0" normalizeH="0" baseline="0" noProof="0" dirty="0" err="1">
                <a:ln>
                  <a:noFill/>
                </a:ln>
                <a:solidFill>
                  <a:prstClr val="black"/>
                </a:solidFill>
                <a:effectLst/>
                <a:uLnTx/>
                <a:uFillTx/>
                <a:latin typeface="Titillium Web"/>
                <a:ea typeface="+mn-ea"/>
                <a:cs typeface="+mn-cs"/>
              </a:rPr>
              <a:t>farmaci</a:t>
            </a:r>
            <a:r>
              <a:rPr kumimoji="0" lang="en-US" sz="1200" b="0" i="0" u="none" strike="noStrike" kern="1200" cap="none" spc="0" normalizeH="0" baseline="0" noProof="0" dirty="0">
                <a:ln>
                  <a:noFill/>
                </a:ln>
                <a:solidFill>
                  <a:prstClr val="black"/>
                </a:solidFill>
                <a:effectLst/>
                <a:uLnTx/>
                <a:uFillTx/>
                <a:latin typeface="Titillium Web"/>
                <a:ea typeface="+mn-ea"/>
                <a:cs typeface="+mn-cs"/>
              </a:rPr>
              <a:t>  </a:t>
            </a:r>
            <a:r>
              <a:rPr kumimoji="0" lang="en-US" sz="1200" b="0" i="0" u="none" strike="noStrike" kern="1200" cap="none" spc="0" normalizeH="0" baseline="0" noProof="0" dirty="0" err="1">
                <a:ln>
                  <a:noFill/>
                </a:ln>
                <a:solidFill>
                  <a:prstClr val="black"/>
                </a:solidFill>
                <a:effectLst/>
                <a:uLnTx/>
                <a:uFillTx/>
                <a:latin typeface="Titillium Web"/>
                <a:ea typeface="+mn-ea"/>
                <a:cs typeface="+mn-cs"/>
              </a:rPr>
              <a:t>antidiabetici</a:t>
            </a:r>
            <a:r>
              <a:rPr kumimoji="0" lang="en-US" sz="1200" b="0" i="0" u="none" strike="noStrike" kern="1200" cap="none" spc="0" normalizeH="0" baseline="0" noProof="0" dirty="0">
                <a:ln>
                  <a:noFill/>
                </a:ln>
                <a:solidFill>
                  <a:prstClr val="black"/>
                </a:solidFill>
                <a:effectLst/>
                <a:uLnTx/>
                <a:uFillTx/>
                <a:latin typeface="Titillium Web"/>
                <a:ea typeface="+mn-ea"/>
                <a:cs typeface="+mn-cs"/>
              </a:rPr>
              <a:t> </a:t>
            </a:r>
            <a:r>
              <a:rPr kumimoji="0" lang="en-US" sz="1200" b="0" i="0" u="none" strike="noStrike" kern="1200" cap="none" spc="0" normalizeH="0" baseline="0" noProof="0" dirty="0" err="1">
                <a:ln>
                  <a:noFill/>
                </a:ln>
                <a:solidFill>
                  <a:prstClr val="black"/>
                </a:solidFill>
                <a:effectLst/>
                <a:uLnTx/>
                <a:uFillTx/>
                <a:latin typeface="Titillium Web"/>
                <a:ea typeface="+mn-ea"/>
                <a:cs typeface="+mn-cs"/>
              </a:rPr>
              <a:t>dopo</a:t>
            </a:r>
            <a:r>
              <a:rPr kumimoji="0" lang="en-US" sz="1200" b="0" i="0" u="none" strike="noStrike" kern="1200" cap="none" spc="0" normalizeH="0" baseline="0" noProof="0" dirty="0">
                <a:ln>
                  <a:noFill/>
                </a:ln>
                <a:solidFill>
                  <a:prstClr val="black"/>
                </a:solidFill>
                <a:effectLst/>
                <a:uLnTx/>
                <a:uFillTx/>
                <a:latin typeface="Titillium Web"/>
                <a:ea typeface="+mn-ea"/>
                <a:cs typeface="+mn-cs"/>
              </a:rPr>
              <a:t> </a:t>
            </a:r>
            <a:r>
              <a:rPr kumimoji="0" lang="en-US" sz="1200" b="0" i="0" u="none" strike="noStrike" kern="1200" cap="none" spc="0" normalizeH="0" baseline="0" noProof="0" dirty="0" err="1">
                <a:ln>
                  <a:noFill/>
                </a:ln>
                <a:solidFill>
                  <a:prstClr val="black"/>
                </a:solidFill>
                <a:effectLst/>
                <a:uLnTx/>
                <a:uFillTx/>
                <a:latin typeface="Titillium Web"/>
                <a:ea typeface="+mn-ea"/>
                <a:cs typeface="+mn-cs"/>
              </a:rPr>
              <a:t>gennaio</a:t>
            </a:r>
            <a:r>
              <a:rPr kumimoji="0" lang="en-US" sz="1200" b="0" i="0" u="none" strike="noStrike" kern="1200" cap="none" spc="0" normalizeH="0" baseline="0" noProof="0" dirty="0">
                <a:ln>
                  <a:noFill/>
                </a:ln>
                <a:solidFill>
                  <a:prstClr val="black"/>
                </a:solidFill>
                <a:effectLst/>
                <a:uLnTx/>
                <a:uFillTx/>
                <a:latin typeface="Titillium Web"/>
                <a:ea typeface="+mn-ea"/>
                <a:cs typeface="+mn-cs"/>
              </a:rPr>
              <a:t> 2015</a:t>
            </a:r>
          </a:p>
        </p:txBody>
      </p:sp>
      <p:sp>
        <p:nvSpPr>
          <p:cNvPr id="22" name="CasellaDiTesto 21">
            <a:extLst>
              <a:ext uri="{FF2B5EF4-FFF2-40B4-BE49-F238E27FC236}">
                <a16:creationId xmlns:a16="http://schemas.microsoft.com/office/drawing/2014/main" id="{5EBD854E-744B-684D-A66E-48183395A7BE}"/>
              </a:ext>
            </a:extLst>
          </p:cNvPr>
          <p:cNvSpPr txBox="1"/>
          <p:nvPr/>
        </p:nvSpPr>
        <p:spPr>
          <a:xfrm>
            <a:off x="5957783" y="5626573"/>
            <a:ext cx="4550734" cy="941796"/>
          </a:xfrm>
          <a:prstGeom prst="rect">
            <a:avLst/>
          </a:prstGeom>
          <a:noFill/>
          <a:ln>
            <a:solidFill>
              <a:schemeClr val="tx1"/>
            </a:solidFill>
          </a:ln>
        </p:spPr>
        <p:txBody>
          <a:bodyPr wrap="square">
            <a:spAutoFit/>
          </a:bodyPr>
          <a:lstStyle/>
          <a:p>
            <a:pPr marL="0" marR="0" lvl="2" indent="0" algn="l" defTabSz="457200" rtl="0" eaLnBrk="1" fontAlgn="auto" latinLnBrk="0" hangingPunct="1">
              <a:lnSpc>
                <a:spcPct val="115000"/>
              </a:lnSpc>
              <a:spcBef>
                <a:spcPts val="0"/>
              </a:spcBef>
              <a:spcAft>
                <a:spcPts val="0"/>
              </a:spcAft>
              <a:buClrTx/>
              <a:buSzTx/>
              <a:buFontTx/>
              <a:buNone/>
              <a:tabLst>
                <a:tab pos="521335" algn="l"/>
              </a:tabLst>
              <a:defRPr/>
            </a:pPr>
            <a:r>
              <a:rPr kumimoji="0" lang="en-US" sz="1200" b="0" i="0" u="none" strike="noStrike" kern="1200" cap="none" spc="0" normalizeH="0" baseline="0" noProof="0" dirty="0">
                <a:ln>
                  <a:noFill/>
                </a:ln>
                <a:solidFill>
                  <a:srgbClr val="640032"/>
                </a:solidFill>
                <a:effectLst/>
                <a:uLnTx/>
                <a:uFillTx/>
                <a:latin typeface="Century Gothic" panose="020B0502020202020204"/>
                <a:ea typeface="+mn-ea"/>
                <a:cs typeface="+mn-cs"/>
              </a:rPr>
              <a:t>PERIODO DI CARATTERIZZAZIONE:</a:t>
            </a:r>
            <a:r>
              <a:rPr kumimoji="0" lang="en-US" sz="1200" b="1" i="0" u="none" strike="noStrike" kern="1200" cap="none" spc="0" normalizeH="0" baseline="0" noProof="0" dirty="0">
                <a:ln>
                  <a:noFill/>
                </a:ln>
                <a:solidFill>
                  <a:prstClr val="white">
                    <a:lumMod val="50000"/>
                  </a:prstClr>
                </a:solidFill>
                <a:effectLst/>
                <a:uLnTx/>
                <a:uFillTx/>
                <a:latin typeface="Titillium Web"/>
                <a:ea typeface="+mn-ea"/>
                <a:cs typeface="+mn-cs"/>
              </a:rPr>
              <a:t> </a:t>
            </a:r>
            <a:r>
              <a:rPr kumimoji="0" lang="en-US" sz="1200" b="0" i="0" u="none" strike="noStrike" kern="1200" cap="none" spc="0" normalizeH="0" baseline="0" noProof="0" dirty="0">
                <a:ln>
                  <a:noFill/>
                </a:ln>
                <a:solidFill>
                  <a:prstClr val="black"/>
                </a:solidFill>
                <a:effectLst/>
                <a:uLnTx/>
                <a:uFillTx/>
                <a:latin typeface="Titillium Web"/>
                <a:ea typeface="+mn-ea"/>
                <a:cs typeface="+mn-cs"/>
              </a:rPr>
              <a:t>1 anno prima </a:t>
            </a:r>
            <a:r>
              <a:rPr kumimoji="0" lang="en-US" sz="1200" b="0" i="0" u="none" strike="noStrike" kern="1200" cap="none" spc="0" normalizeH="0" baseline="0" noProof="0" dirty="0" err="1">
                <a:ln>
                  <a:noFill/>
                </a:ln>
                <a:solidFill>
                  <a:prstClr val="black"/>
                </a:solidFill>
                <a:effectLst/>
                <a:uLnTx/>
                <a:uFillTx/>
                <a:latin typeface="Titillium Web"/>
                <a:ea typeface="+mn-ea"/>
                <a:cs typeface="+mn-cs"/>
              </a:rPr>
              <a:t>della</a:t>
            </a:r>
            <a:r>
              <a:rPr kumimoji="0" lang="en-US" sz="1200" b="0" i="0" u="none" strike="noStrike" kern="1200" cap="none" spc="0" normalizeH="0" baseline="0" noProof="0" dirty="0">
                <a:ln>
                  <a:noFill/>
                </a:ln>
                <a:solidFill>
                  <a:prstClr val="black"/>
                </a:solidFill>
                <a:effectLst/>
                <a:uLnTx/>
                <a:uFillTx/>
                <a:latin typeface="Titillium Web"/>
                <a:ea typeface="+mn-ea"/>
                <a:cs typeface="+mn-cs"/>
              </a:rPr>
              <a:t> data </a:t>
            </a:r>
            <a:r>
              <a:rPr kumimoji="0" lang="en-US" sz="1200" b="0" i="0" u="none" strike="noStrike" kern="1200" cap="none" spc="0" normalizeH="0" baseline="0" noProof="0" dirty="0" err="1">
                <a:ln>
                  <a:noFill/>
                </a:ln>
                <a:solidFill>
                  <a:prstClr val="black"/>
                </a:solidFill>
                <a:effectLst/>
                <a:uLnTx/>
                <a:uFillTx/>
                <a:latin typeface="Titillium Web"/>
                <a:ea typeface="+mn-ea"/>
                <a:cs typeface="+mn-cs"/>
              </a:rPr>
              <a:t>indice</a:t>
            </a:r>
            <a:endParaRPr kumimoji="0" lang="en-GB" sz="1200" b="0" i="0" u="none" strike="noStrike" kern="1200" cap="none" spc="0" normalizeH="0" baseline="0" noProof="0" dirty="0">
              <a:ln>
                <a:noFill/>
              </a:ln>
              <a:solidFill>
                <a:prstClr val="black"/>
              </a:solidFill>
              <a:effectLst/>
              <a:uLnTx/>
              <a:uFillTx/>
              <a:latin typeface="Titillium Web"/>
              <a:ea typeface="+mn-ea"/>
              <a:cs typeface="+mn-cs"/>
            </a:endParaRPr>
          </a:p>
          <a:p>
            <a:pPr marL="0" marR="0" lvl="2" indent="0" algn="l" defTabSz="457200" rtl="0" eaLnBrk="1" fontAlgn="auto" latinLnBrk="0" hangingPunct="1">
              <a:lnSpc>
                <a:spcPct val="115000"/>
              </a:lnSpc>
              <a:spcBef>
                <a:spcPts val="0"/>
              </a:spcBef>
              <a:spcAft>
                <a:spcPts val="0"/>
              </a:spcAft>
              <a:buClrTx/>
              <a:buSzTx/>
              <a:buFontTx/>
              <a:buNone/>
              <a:tabLst>
                <a:tab pos="521335" algn="l"/>
              </a:tabLst>
              <a:defRPr/>
            </a:pPr>
            <a:r>
              <a:rPr kumimoji="0" lang="en-US" sz="1200" b="0" i="0" u="none" strike="noStrike" kern="1200" cap="none" spc="0" normalizeH="0" baseline="0" noProof="0" dirty="0">
                <a:ln>
                  <a:noFill/>
                </a:ln>
                <a:solidFill>
                  <a:srgbClr val="640032"/>
                </a:solidFill>
                <a:effectLst/>
                <a:uLnTx/>
                <a:uFillTx/>
                <a:latin typeface="Century Gothic" panose="020B0502020202020204"/>
                <a:ea typeface="+mn-ea"/>
                <a:cs typeface="+mn-cs"/>
              </a:rPr>
              <a:t>PERIODO DI FOLLOW-UP: </a:t>
            </a:r>
            <a:r>
              <a:rPr kumimoji="0" lang="en-US" sz="1200" b="0" i="0" u="none" strike="noStrike" kern="1200" cap="none" spc="0" normalizeH="0" baseline="0" noProof="0" dirty="0" err="1">
                <a:ln>
                  <a:noFill/>
                </a:ln>
                <a:solidFill>
                  <a:prstClr val="black"/>
                </a:solidFill>
                <a:effectLst/>
                <a:uLnTx/>
                <a:uFillTx/>
                <a:latin typeface="Titillium Web"/>
                <a:ea typeface="+mn-ea"/>
                <a:cs typeface="+mn-cs"/>
              </a:rPr>
              <a:t>tutto</a:t>
            </a:r>
            <a:r>
              <a:rPr kumimoji="0" lang="en-US" sz="1200" b="0" i="0" u="none" strike="noStrike" kern="1200" cap="none" spc="0" normalizeH="0" baseline="0" noProof="0" dirty="0">
                <a:ln>
                  <a:noFill/>
                </a:ln>
                <a:solidFill>
                  <a:prstClr val="black"/>
                </a:solidFill>
                <a:effectLst/>
                <a:uLnTx/>
                <a:uFillTx/>
                <a:latin typeface="Titillium Web"/>
                <a:ea typeface="+mn-ea"/>
                <a:cs typeface="+mn-cs"/>
              </a:rPr>
              <a:t> </a:t>
            </a:r>
            <a:r>
              <a:rPr kumimoji="0" lang="en-US" sz="1200" b="0" i="0" u="none" strike="noStrike" kern="1200" cap="none" spc="0" normalizeH="0" baseline="0" noProof="0" dirty="0" err="1">
                <a:ln>
                  <a:noFill/>
                </a:ln>
                <a:solidFill>
                  <a:prstClr val="black"/>
                </a:solidFill>
                <a:effectLst/>
                <a:uLnTx/>
                <a:uFillTx/>
                <a:latin typeface="Titillium Web"/>
                <a:ea typeface="+mn-ea"/>
                <a:cs typeface="+mn-cs"/>
              </a:rPr>
              <a:t>il</a:t>
            </a:r>
            <a:r>
              <a:rPr kumimoji="0" lang="en-US" sz="1200" b="0" i="0" u="none" strike="noStrike" kern="1200" cap="none" spc="0" normalizeH="0" baseline="0" noProof="0" dirty="0">
                <a:ln>
                  <a:noFill/>
                </a:ln>
                <a:solidFill>
                  <a:prstClr val="black"/>
                </a:solidFill>
                <a:effectLst/>
                <a:uLnTx/>
                <a:uFillTx/>
                <a:latin typeface="Titillium Web"/>
                <a:ea typeface="+mn-ea"/>
                <a:cs typeface="+mn-cs"/>
              </a:rPr>
              <a:t> </a:t>
            </a:r>
            <a:r>
              <a:rPr kumimoji="0" lang="en-US" sz="1200" b="0" i="0" u="none" strike="noStrike" kern="1200" cap="none" spc="0" normalizeH="0" baseline="0" noProof="0" dirty="0" err="1">
                <a:ln>
                  <a:noFill/>
                </a:ln>
                <a:solidFill>
                  <a:prstClr val="black"/>
                </a:solidFill>
                <a:effectLst/>
                <a:uLnTx/>
                <a:uFillTx/>
                <a:latin typeface="Titillium Web"/>
                <a:ea typeface="+mn-ea"/>
                <a:cs typeface="+mn-cs"/>
              </a:rPr>
              <a:t>periodo</a:t>
            </a:r>
            <a:r>
              <a:rPr kumimoji="0" lang="en-US" sz="1200" b="0" i="0" u="none" strike="noStrike" kern="1200" cap="none" spc="0" normalizeH="0" baseline="0" noProof="0" dirty="0">
                <a:ln>
                  <a:noFill/>
                </a:ln>
                <a:solidFill>
                  <a:prstClr val="black"/>
                </a:solidFill>
                <a:effectLst/>
                <a:uLnTx/>
                <a:uFillTx/>
                <a:latin typeface="Titillium Web"/>
                <a:ea typeface="+mn-ea"/>
                <a:cs typeface="+mn-cs"/>
              </a:rPr>
              <a:t> </a:t>
            </a:r>
            <a:r>
              <a:rPr kumimoji="0" lang="en-US" sz="1200" b="0" i="0" u="none" strike="noStrike" kern="1200" cap="none" spc="0" normalizeH="0" baseline="0" noProof="0" dirty="0" err="1">
                <a:ln>
                  <a:noFill/>
                </a:ln>
                <a:solidFill>
                  <a:prstClr val="black"/>
                </a:solidFill>
                <a:effectLst/>
                <a:uLnTx/>
                <a:uFillTx/>
                <a:latin typeface="Titillium Web"/>
                <a:ea typeface="+mn-ea"/>
                <a:cs typeface="+mn-cs"/>
              </a:rPr>
              <a:t>disponibile</a:t>
            </a:r>
            <a:r>
              <a:rPr kumimoji="0" lang="en-US" sz="1200" b="0" i="0" u="none" strike="noStrike" kern="1200" cap="none" spc="0" normalizeH="0" baseline="0" noProof="0" dirty="0">
                <a:ln>
                  <a:noFill/>
                </a:ln>
                <a:solidFill>
                  <a:prstClr val="black"/>
                </a:solidFill>
                <a:effectLst/>
                <a:uLnTx/>
                <a:uFillTx/>
                <a:latin typeface="Titillium Web"/>
                <a:ea typeface="+mn-ea"/>
                <a:cs typeface="+mn-cs"/>
              </a:rPr>
              <a:t> a </a:t>
            </a:r>
            <a:r>
              <a:rPr kumimoji="0" lang="en-US" sz="1200" b="0" i="0" u="none" strike="noStrike" kern="1200" cap="none" spc="0" normalizeH="0" baseline="0" noProof="0" dirty="0" err="1">
                <a:ln>
                  <a:noFill/>
                </a:ln>
                <a:solidFill>
                  <a:prstClr val="black"/>
                </a:solidFill>
                <a:effectLst/>
                <a:uLnTx/>
                <a:uFillTx/>
                <a:latin typeface="Titillium Web"/>
                <a:ea typeface="+mn-ea"/>
                <a:cs typeface="+mn-cs"/>
              </a:rPr>
              <a:t>seguito</a:t>
            </a:r>
            <a:r>
              <a:rPr kumimoji="0" lang="en-US" sz="1200" b="0" i="0" u="none" strike="noStrike" kern="1200" cap="none" spc="0" normalizeH="0" baseline="0" noProof="0" dirty="0">
                <a:ln>
                  <a:noFill/>
                </a:ln>
                <a:solidFill>
                  <a:prstClr val="black"/>
                </a:solidFill>
                <a:effectLst/>
                <a:uLnTx/>
                <a:uFillTx/>
                <a:latin typeface="Titillium Web"/>
                <a:ea typeface="+mn-ea"/>
                <a:cs typeface="+mn-cs"/>
              </a:rPr>
              <a:t> </a:t>
            </a:r>
            <a:r>
              <a:rPr kumimoji="0" lang="en-US" sz="1200" b="0" i="0" u="none" strike="noStrike" kern="1200" cap="none" spc="0" normalizeH="0" baseline="0" noProof="0" dirty="0" err="1">
                <a:ln>
                  <a:noFill/>
                </a:ln>
                <a:solidFill>
                  <a:prstClr val="black"/>
                </a:solidFill>
                <a:effectLst/>
                <a:uLnTx/>
                <a:uFillTx/>
                <a:latin typeface="Titillium Web"/>
                <a:ea typeface="+mn-ea"/>
                <a:cs typeface="+mn-cs"/>
              </a:rPr>
              <a:t>della</a:t>
            </a:r>
            <a:r>
              <a:rPr kumimoji="0" lang="en-US" sz="1200" b="0" i="0" u="none" strike="noStrike" kern="1200" cap="none" spc="0" normalizeH="0" baseline="0" noProof="0" dirty="0">
                <a:ln>
                  <a:noFill/>
                </a:ln>
                <a:solidFill>
                  <a:prstClr val="black"/>
                </a:solidFill>
                <a:effectLst/>
                <a:uLnTx/>
                <a:uFillTx/>
                <a:latin typeface="Titillium Web"/>
                <a:ea typeface="+mn-ea"/>
                <a:cs typeface="+mn-cs"/>
              </a:rPr>
              <a:t> data </a:t>
            </a:r>
            <a:r>
              <a:rPr kumimoji="0" lang="en-US" sz="1200" b="0" i="0" u="none" strike="noStrike" kern="1200" cap="none" spc="0" normalizeH="0" baseline="0" noProof="0" dirty="0" err="1">
                <a:ln>
                  <a:noFill/>
                </a:ln>
                <a:solidFill>
                  <a:prstClr val="black"/>
                </a:solidFill>
                <a:effectLst/>
                <a:uLnTx/>
                <a:uFillTx/>
                <a:latin typeface="Titillium Web"/>
                <a:ea typeface="+mn-ea"/>
                <a:cs typeface="+mn-cs"/>
              </a:rPr>
              <a:t>indice</a:t>
            </a:r>
            <a:endParaRPr kumimoji="0" lang="en-GB" sz="1200" b="0" i="0" u="none" strike="noStrike" kern="1200" cap="none" spc="0" normalizeH="0" baseline="0" noProof="0" dirty="0">
              <a:ln>
                <a:noFill/>
              </a:ln>
              <a:solidFill>
                <a:prstClr val="black"/>
              </a:solidFill>
              <a:effectLst/>
              <a:uLnTx/>
              <a:uFillTx/>
              <a:latin typeface="Titillium Web"/>
              <a:ea typeface="+mn-ea"/>
              <a:cs typeface="+mn-cs"/>
            </a:endParaRPr>
          </a:p>
        </p:txBody>
      </p:sp>
      <p:sp>
        <p:nvSpPr>
          <p:cNvPr id="23" name="Line 5">
            <a:extLst>
              <a:ext uri="{FF2B5EF4-FFF2-40B4-BE49-F238E27FC236}">
                <a16:creationId xmlns:a16="http://schemas.microsoft.com/office/drawing/2014/main" id="{7A5A3C41-5B5A-1449-9E1D-0B7E86619532}"/>
              </a:ext>
            </a:extLst>
          </p:cNvPr>
          <p:cNvSpPr>
            <a:spLocks noChangeShapeType="1"/>
          </p:cNvSpPr>
          <p:nvPr/>
        </p:nvSpPr>
        <p:spPr bwMode="auto">
          <a:xfrm>
            <a:off x="2195002" y="3476270"/>
            <a:ext cx="7916862" cy="0"/>
          </a:xfrm>
          <a:prstGeom prst="line">
            <a:avLst/>
          </a:prstGeom>
          <a:noFill/>
          <a:ln w="19050">
            <a:solidFill>
              <a:srgbClr val="680047"/>
            </a:solidFill>
            <a:round/>
            <a:headEnd type="none" w="med" len="med"/>
            <a:tailEnd type="triangle" w="med" len="me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Titillium Web"/>
              <a:ea typeface="MS PGothic" charset="0"/>
              <a:cs typeface="MS PGothic" charset="0"/>
            </a:endParaRPr>
          </a:p>
        </p:txBody>
      </p:sp>
      <p:sp>
        <p:nvSpPr>
          <p:cNvPr id="24" name="Text Box 6">
            <a:extLst>
              <a:ext uri="{FF2B5EF4-FFF2-40B4-BE49-F238E27FC236}">
                <a16:creationId xmlns:a16="http://schemas.microsoft.com/office/drawing/2014/main" id="{7B38778A-695C-0347-8371-6976F5D059B6}"/>
              </a:ext>
            </a:extLst>
          </p:cNvPr>
          <p:cNvSpPr txBox="1">
            <a:spLocks noChangeArrowheads="1"/>
          </p:cNvSpPr>
          <p:nvPr/>
        </p:nvSpPr>
        <p:spPr bwMode="auto">
          <a:xfrm>
            <a:off x="2444864" y="3506434"/>
            <a:ext cx="7348487" cy="35086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spcBef>
                <a:spcPct val="20000"/>
              </a:spcBef>
              <a:buClr>
                <a:srgbClr val="640032"/>
              </a:buClr>
              <a:buSzPct val="90000"/>
              <a:buChar char="•"/>
              <a:defRPr sz="2000">
                <a:solidFill>
                  <a:srgbClr val="1C1C1C"/>
                </a:solidFill>
                <a:latin typeface="Trebuchet MS" panose="020B0703020202090204" pitchFamily="34" charset="0"/>
                <a:ea typeface="MS PGothic" panose="020B0600070205080204" pitchFamily="34" charset="-128"/>
              </a:defRPr>
            </a:lvl1pPr>
            <a:lvl2pPr marL="742950" indent="-285750">
              <a:spcBef>
                <a:spcPct val="20000"/>
              </a:spcBef>
              <a:buClr>
                <a:srgbClr val="640032"/>
              </a:buClr>
              <a:buSzPct val="90000"/>
              <a:buChar char="•"/>
              <a:defRPr sz="2000">
                <a:solidFill>
                  <a:srgbClr val="1C1C1C"/>
                </a:solidFill>
                <a:latin typeface="Trebuchet MS" panose="020B0703020202090204" pitchFamily="34" charset="0"/>
                <a:ea typeface="MS PGothic" panose="020B0600070205080204" pitchFamily="34" charset="-128"/>
              </a:defRPr>
            </a:lvl2pPr>
            <a:lvl3pPr marL="1143000" indent="-228600">
              <a:spcBef>
                <a:spcPct val="20000"/>
              </a:spcBef>
              <a:buClr>
                <a:srgbClr val="640032"/>
              </a:buClr>
              <a:buSzPct val="90000"/>
              <a:buChar char="•"/>
              <a:defRPr sz="2000">
                <a:solidFill>
                  <a:srgbClr val="1C1C1C"/>
                </a:solidFill>
                <a:latin typeface="Trebuchet MS" panose="020B0703020202090204" pitchFamily="34" charset="0"/>
                <a:ea typeface="MS PGothic" panose="020B0600070205080204" pitchFamily="34" charset="-128"/>
              </a:defRPr>
            </a:lvl3pPr>
            <a:lvl4pPr marL="1600200" indent="-228600">
              <a:spcBef>
                <a:spcPct val="20000"/>
              </a:spcBef>
              <a:buClr>
                <a:srgbClr val="640032"/>
              </a:buClr>
              <a:buSzPct val="90000"/>
              <a:buChar char="–"/>
              <a:defRPr sz="2000">
                <a:solidFill>
                  <a:srgbClr val="1C1C1C"/>
                </a:solidFill>
                <a:latin typeface="Trebuchet MS" panose="020B0703020202090204" pitchFamily="34" charset="0"/>
                <a:ea typeface="MS PGothic" panose="020B0600070205080204" pitchFamily="34" charset="-128"/>
              </a:defRPr>
            </a:lvl4pPr>
            <a:lvl5pPr marL="2057400" indent="-228600">
              <a:spcBef>
                <a:spcPct val="20000"/>
              </a:spcBef>
              <a:buClr>
                <a:srgbClr val="640032"/>
              </a:buClr>
              <a:buSzPct val="90000"/>
              <a:buChar char="»"/>
              <a:defRPr sz="2000">
                <a:solidFill>
                  <a:srgbClr val="1C1C1C"/>
                </a:solidFill>
                <a:latin typeface="Trebuchet MS" panose="020B0703020202090204" pitchFamily="34" charset="0"/>
                <a:ea typeface="MS PGothic" panose="020B0600070205080204" pitchFamily="34" charset="-128"/>
              </a:defRPr>
            </a:lvl5pPr>
            <a:lvl6pPr marL="2514600" indent="-228600" eaLnBrk="0" fontAlgn="base" hangingPunct="0">
              <a:spcBef>
                <a:spcPct val="20000"/>
              </a:spcBef>
              <a:spcAft>
                <a:spcPct val="0"/>
              </a:spcAft>
              <a:buClr>
                <a:srgbClr val="640032"/>
              </a:buClr>
              <a:buSzPct val="90000"/>
              <a:buChar char="»"/>
              <a:defRPr sz="2000">
                <a:solidFill>
                  <a:srgbClr val="1C1C1C"/>
                </a:solidFill>
                <a:latin typeface="Trebuchet MS" panose="020B0703020202090204" pitchFamily="34" charset="0"/>
                <a:ea typeface="MS PGothic" panose="020B0600070205080204" pitchFamily="34" charset="-128"/>
              </a:defRPr>
            </a:lvl6pPr>
            <a:lvl7pPr marL="2971800" indent="-228600" eaLnBrk="0" fontAlgn="base" hangingPunct="0">
              <a:spcBef>
                <a:spcPct val="20000"/>
              </a:spcBef>
              <a:spcAft>
                <a:spcPct val="0"/>
              </a:spcAft>
              <a:buClr>
                <a:srgbClr val="640032"/>
              </a:buClr>
              <a:buSzPct val="90000"/>
              <a:buChar char="»"/>
              <a:defRPr sz="2000">
                <a:solidFill>
                  <a:srgbClr val="1C1C1C"/>
                </a:solidFill>
                <a:latin typeface="Trebuchet MS" panose="020B0703020202090204" pitchFamily="34" charset="0"/>
                <a:ea typeface="MS PGothic" panose="020B0600070205080204" pitchFamily="34" charset="-128"/>
              </a:defRPr>
            </a:lvl7pPr>
            <a:lvl8pPr marL="3429000" indent="-228600" eaLnBrk="0" fontAlgn="base" hangingPunct="0">
              <a:spcBef>
                <a:spcPct val="20000"/>
              </a:spcBef>
              <a:spcAft>
                <a:spcPct val="0"/>
              </a:spcAft>
              <a:buClr>
                <a:srgbClr val="640032"/>
              </a:buClr>
              <a:buSzPct val="90000"/>
              <a:buChar char="»"/>
              <a:defRPr sz="2000">
                <a:solidFill>
                  <a:srgbClr val="1C1C1C"/>
                </a:solidFill>
                <a:latin typeface="Trebuchet MS" panose="020B0703020202090204" pitchFamily="34" charset="0"/>
                <a:ea typeface="MS PGothic" panose="020B0600070205080204" pitchFamily="34" charset="-128"/>
              </a:defRPr>
            </a:lvl8pPr>
            <a:lvl9pPr marL="3886200" indent="-228600" eaLnBrk="0" fontAlgn="base" hangingPunct="0">
              <a:spcBef>
                <a:spcPct val="20000"/>
              </a:spcBef>
              <a:spcAft>
                <a:spcPct val="0"/>
              </a:spcAft>
              <a:buClr>
                <a:srgbClr val="640032"/>
              </a:buClr>
              <a:buSzPct val="90000"/>
              <a:buChar char="»"/>
              <a:defRPr sz="2000">
                <a:solidFill>
                  <a:srgbClr val="1C1C1C"/>
                </a:solidFill>
                <a:latin typeface="Trebuchet MS" panose="020B0703020202090204" pitchFamily="34" charset="0"/>
                <a:ea typeface="MS PGothic" panose="020B0600070205080204" pitchFamily="34" charset="-128"/>
              </a:defRPr>
            </a:lvl9pPr>
          </a:lstStyle>
          <a:p>
            <a:pPr marL="0" marR="0" lvl="0" indent="0" algn="l" defTabSz="457200" rtl="0" eaLnBrk="1" fontAlgn="auto" latinLnBrk="0" hangingPunct="1">
              <a:lnSpc>
                <a:spcPct val="140000"/>
              </a:lnSpc>
              <a:spcBef>
                <a:spcPct val="0"/>
              </a:spcBef>
              <a:spcAft>
                <a:spcPts val="0"/>
              </a:spcAft>
              <a:buClrTx/>
              <a:buSzTx/>
              <a:buFontTx/>
              <a:buNone/>
              <a:tabLst/>
              <a:defRPr/>
            </a:pPr>
            <a:r>
              <a:rPr kumimoji="0" lang="it-IT" altLang="it-IT" sz="1200" b="0" i="0" u="none" strike="noStrike" kern="1200" cap="none" spc="0" normalizeH="0" baseline="0" noProof="0" dirty="0">
                <a:ln>
                  <a:noFill/>
                </a:ln>
                <a:solidFill>
                  <a:prstClr val="black"/>
                </a:solidFill>
                <a:effectLst/>
                <a:uLnTx/>
                <a:uFillTx/>
                <a:latin typeface="Titillium Web"/>
                <a:ea typeface="MS PGothic" panose="020B0600070205080204" pitchFamily="34" charset="-128"/>
                <a:cs typeface="+mn-cs"/>
              </a:rPr>
              <a:t>   2010                …                  2014                2015            2016              2017             2018               2019</a:t>
            </a:r>
          </a:p>
        </p:txBody>
      </p:sp>
      <p:sp>
        <p:nvSpPr>
          <p:cNvPr id="25" name="Line 29">
            <a:extLst>
              <a:ext uri="{FF2B5EF4-FFF2-40B4-BE49-F238E27FC236}">
                <a16:creationId xmlns:a16="http://schemas.microsoft.com/office/drawing/2014/main" id="{74EF636B-76B3-7D40-A16B-9D5131A00F59}"/>
              </a:ext>
            </a:extLst>
          </p:cNvPr>
          <p:cNvSpPr>
            <a:spLocks noChangeShapeType="1"/>
          </p:cNvSpPr>
          <p:nvPr/>
        </p:nvSpPr>
        <p:spPr bwMode="auto">
          <a:xfrm flipH="1">
            <a:off x="6445878" y="2930725"/>
            <a:ext cx="770650" cy="4492"/>
          </a:xfrm>
          <a:prstGeom prst="line">
            <a:avLst/>
          </a:prstGeom>
          <a:noFill/>
          <a:ln w="19050">
            <a:solidFill>
              <a:srgbClr val="680047"/>
            </a:solidFill>
            <a:prstDash val="dash"/>
            <a:round/>
            <a:headEnd/>
            <a:tailEnd type="arrow" w="lg" len="lg"/>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Titillium Web"/>
              <a:ea typeface="MS PGothic" charset="0"/>
              <a:cs typeface="MS PGothic" charset="0"/>
            </a:endParaRPr>
          </a:p>
        </p:txBody>
      </p:sp>
      <p:sp>
        <p:nvSpPr>
          <p:cNvPr id="26" name="Line 29">
            <a:extLst>
              <a:ext uri="{FF2B5EF4-FFF2-40B4-BE49-F238E27FC236}">
                <a16:creationId xmlns:a16="http://schemas.microsoft.com/office/drawing/2014/main" id="{9358401C-F114-A043-911F-1E775376CCC6}"/>
              </a:ext>
            </a:extLst>
          </p:cNvPr>
          <p:cNvSpPr>
            <a:spLocks noChangeShapeType="1"/>
          </p:cNvSpPr>
          <p:nvPr/>
        </p:nvSpPr>
        <p:spPr bwMode="auto">
          <a:xfrm>
            <a:off x="7468146" y="2915883"/>
            <a:ext cx="1944000" cy="0"/>
          </a:xfrm>
          <a:prstGeom prst="line">
            <a:avLst/>
          </a:prstGeom>
          <a:noFill/>
          <a:ln w="19050">
            <a:solidFill>
              <a:srgbClr val="680047"/>
            </a:solidFill>
            <a:round/>
            <a:headEnd/>
            <a:tailEnd type="arrow" w="lg" len="lg"/>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Titillium Web"/>
              <a:ea typeface="MS PGothic" charset="0"/>
              <a:cs typeface="MS PGothic" charset="0"/>
            </a:endParaRPr>
          </a:p>
        </p:txBody>
      </p:sp>
      <p:pic>
        <p:nvPicPr>
          <p:cNvPr id="28" name="Picture 56" descr="Immagine">
            <a:extLst>
              <a:ext uri="{FF2B5EF4-FFF2-40B4-BE49-F238E27FC236}">
                <a16:creationId xmlns:a16="http://schemas.microsoft.com/office/drawing/2014/main" id="{B0194097-5034-0244-9D85-BAA197D8CD3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16529" y="2489568"/>
            <a:ext cx="503237" cy="69373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29" name="Line 29">
            <a:extLst>
              <a:ext uri="{FF2B5EF4-FFF2-40B4-BE49-F238E27FC236}">
                <a16:creationId xmlns:a16="http://schemas.microsoft.com/office/drawing/2014/main" id="{17996819-ACE3-DD48-B64F-B943856CA0A0}"/>
              </a:ext>
            </a:extLst>
          </p:cNvPr>
          <p:cNvSpPr>
            <a:spLocks noChangeShapeType="1"/>
          </p:cNvSpPr>
          <p:nvPr/>
        </p:nvSpPr>
        <p:spPr bwMode="auto">
          <a:xfrm flipH="1">
            <a:off x="5074419" y="2360088"/>
            <a:ext cx="720000" cy="6350"/>
          </a:xfrm>
          <a:prstGeom prst="line">
            <a:avLst/>
          </a:prstGeom>
          <a:noFill/>
          <a:ln w="19050">
            <a:solidFill>
              <a:srgbClr val="680047"/>
            </a:solidFill>
            <a:prstDash val="dash"/>
            <a:round/>
            <a:headEnd/>
            <a:tailEnd type="arrow" w="lg" len="lg"/>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Titillium Web"/>
              <a:ea typeface="MS PGothic" charset="0"/>
              <a:cs typeface="MS PGothic" charset="0"/>
            </a:endParaRPr>
          </a:p>
        </p:txBody>
      </p:sp>
      <p:sp>
        <p:nvSpPr>
          <p:cNvPr id="30" name="Line 29">
            <a:extLst>
              <a:ext uri="{FF2B5EF4-FFF2-40B4-BE49-F238E27FC236}">
                <a16:creationId xmlns:a16="http://schemas.microsoft.com/office/drawing/2014/main" id="{B5BFDF37-5155-CE4B-87F3-4A0D6627E8A1}"/>
              </a:ext>
            </a:extLst>
          </p:cNvPr>
          <p:cNvSpPr>
            <a:spLocks noChangeShapeType="1"/>
          </p:cNvSpPr>
          <p:nvPr/>
        </p:nvSpPr>
        <p:spPr bwMode="auto">
          <a:xfrm>
            <a:off x="6078018" y="2352598"/>
            <a:ext cx="3334128" cy="13841"/>
          </a:xfrm>
          <a:prstGeom prst="line">
            <a:avLst/>
          </a:prstGeom>
          <a:noFill/>
          <a:ln w="19050">
            <a:solidFill>
              <a:srgbClr val="680047"/>
            </a:solidFill>
            <a:round/>
            <a:headEnd/>
            <a:tailEnd type="arrow" w="lg" len="lg"/>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Titillium Web"/>
              <a:ea typeface="MS PGothic" charset="0"/>
              <a:cs typeface="MS PGothic" charset="0"/>
            </a:endParaRPr>
          </a:p>
        </p:txBody>
      </p:sp>
      <p:pic>
        <p:nvPicPr>
          <p:cNvPr id="31" name="Picture 56" descr="Immagine">
            <a:extLst>
              <a:ext uri="{FF2B5EF4-FFF2-40B4-BE49-F238E27FC236}">
                <a16:creationId xmlns:a16="http://schemas.microsoft.com/office/drawing/2014/main" id="{45806BFF-AA1D-7F45-96FC-D7E02E34A41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78390" y="1924687"/>
            <a:ext cx="503237" cy="69373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32" name="AutoShape 7">
            <a:extLst>
              <a:ext uri="{FF2B5EF4-FFF2-40B4-BE49-F238E27FC236}">
                <a16:creationId xmlns:a16="http://schemas.microsoft.com/office/drawing/2014/main" id="{5596CED9-29DA-D347-A8AA-E16D49846DE5}"/>
              </a:ext>
            </a:extLst>
          </p:cNvPr>
          <p:cNvSpPr>
            <a:spLocks noChangeArrowheads="1"/>
          </p:cNvSpPr>
          <p:nvPr/>
        </p:nvSpPr>
        <p:spPr bwMode="auto">
          <a:xfrm>
            <a:off x="4872567" y="3969977"/>
            <a:ext cx="2398934" cy="430212"/>
          </a:xfrm>
          <a:prstGeom prst="roundRect">
            <a:avLst>
              <a:gd name="adj" fmla="val 16667"/>
            </a:avLst>
          </a:prstGeom>
          <a:noFill/>
          <a:ln w="12700">
            <a:no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rgbClr val="640032"/>
              </a:buClr>
              <a:buSzPct val="90000"/>
              <a:buChar char="•"/>
              <a:defRPr sz="2000">
                <a:solidFill>
                  <a:srgbClr val="1C1C1C"/>
                </a:solidFill>
                <a:latin typeface="Trebuchet MS" panose="020B0703020202090204" pitchFamily="34" charset="0"/>
                <a:ea typeface="MS PGothic" panose="020B0600070205080204" pitchFamily="34" charset="-128"/>
              </a:defRPr>
            </a:lvl1pPr>
            <a:lvl2pPr marL="742950" indent="-285750">
              <a:spcBef>
                <a:spcPct val="20000"/>
              </a:spcBef>
              <a:buClr>
                <a:srgbClr val="640032"/>
              </a:buClr>
              <a:buSzPct val="90000"/>
              <a:buChar char="•"/>
              <a:defRPr sz="2000">
                <a:solidFill>
                  <a:srgbClr val="1C1C1C"/>
                </a:solidFill>
                <a:latin typeface="Trebuchet MS" panose="020B0703020202090204" pitchFamily="34" charset="0"/>
                <a:ea typeface="MS PGothic" panose="020B0600070205080204" pitchFamily="34" charset="-128"/>
              </a:defRPr>
            </a:lvl2pPr>
            <a:lvl3pPr marL="1143000" indent="-228600">
              <a:spcBef>
                <a:spcPct val="20000"/>
              </a:spcBef>
              <a:buClr>
                <a:srgbClr val="640032"/>
              </a:buClr>
              <a:buSzPct val="90000"/>
              <a:buChar char="•"/>
              <a:defRPr sz="2000">
                <a:solidFill>
                  <a:srgbClr val="1C1C1C"/>
                </a:solidFill>
                <a:latin typeface="Trebuchet MS" panose="020B0703020202090204" pitchFamily="34" charset="0"/>
                <a:ea typeface="MS PGothic" panose="020B0600070205080204" pitchFamily="34" charset="-128"/>
              </a:defRPr>
            </a:lvl3pPr>
            <a:lvl4pPr marL="1600200" indent="-228600">
              <a:spcBef>
                <a:spcPct val="20000"/>
              </a:spcBef>
              <a:buClr>
                <a:srgbClr val="640032"/>
              </a:buClr>
              <a:buSzPct val="90000"/>
              <a:buChar char="–"/>
              <a:defRPr sz="2000">
                <a:solidFill>
                  <a:srgbClr val="1C1C1C"/>
                </a:solidFill>
                <a:latin typeface="Trebuchet MS" panose="020B0703020202090204" pitchFamily="34" charset="0"/>
                <a:ea typeface="MS PGothic" panose="020B0600070205080204" pitchFamily="34" charset="-128"/>
              </a:defRPr>
            </a:lvl4pPr>
            <a:lvl5pPr marL="2057400" indent="-228600">
              <a:spcBef>
                <a:spcPct val="20000"/>
              </a:spcBef>
              <a:buClr>
                <a:srgbClr val="640032"/>
              </a:buClr>
              <a:buSzPct val="90000"/>
              <a:buChar char="»"/>
              <a:defRPr sz="2000">
                <a:solidFill>
                  <a:srgbClr val="1C1C1C"/>
                </a:solidFill>
                <a:latin typeface="Trebuchet MS" panose="020B0703020202090204" pitchFamily="34" charset="0"/>
                <a:ea typeface="MS PGothic" panose="020B0600070205080204" pitchFamily="34" charset="-128"/>
              </a:defRPr>
            </a:lvl5pPr>
            <a:lvl6pPr marL="2514600" indent="-228600" eaLnBrk="0" fontAlgn="base" hangingPunct="0">
              <a:spcBef>
                <a:spcPct val="20000"/>
              </a:spcBef>
              <a:spcAft>
                <a:spcPct val="0"/>
              </a:spcAft>
              <a:buClr>
                <a:srgbClr val="640032"/>
              </a:buClr>
              <a:buSzPct val="90000"/>
              <a:buChar char="»"/>
              <a:defRPr sz="2000">
                <a:solidFill>
                  <a:srgbClr val="1C1C1C"/>
                </a:solidFill>
                <a:latin typeface="Trebuchet MS" panose="020B0703020202090204" pitchFamily="34" charset="0"/>
                <a:ea typeface="MS PGothic" panose="020B0600070205080204" pitchFamily="34" charset="-128"/>
              </a:defRPr>
            </a:lvl6pPr>
            <a:lvl7pPr marL="2971800" indent="-228600" eaLnBrk="0" fontAlgn="base" hangingPunct="0">
              <a:spcBef>
                <a:spcPct val="20000"/>
              </a:spcBef>
              <a:spcAft>
                <a:spcPct val="0"/>
              </a:spcAft>
              <a:buClr>
                <a:srgbClr val="640032"/>
              </a:buClr>
              <a:buSzPct val="90000"/>
              <a:buChar char="»"/>
              <a:defRPr sz="2000">
                <a:solidFill>
                  <a:srgbClr val="1C1C1C"/>
                </a:solidFill>
                <a:latin typeface="Trebuchet MS" panose="020B0703020202090204" pitchFamily="34" charset="0"/>
                <a:ea typeface="MS PGothic" panose="020B0600070205080204" pitchFamily="34" charset="-128"/>
              </a:defRPr>
            </a:lvl7pPr>
            <a:lvl8pPr marL="3429000" indent="-228600" eaLnBrk="0" fontAlgn="base" hangingPunct="0">
              <a:spcBef>
                <a:spcPct val="20000"/>
              </a:spcBef>
              <a:spcAft>
                <a:spcPct val="0"/>
              </a:spcAft>
              <a:buClr>
                <a:srgbClr val="640032"/>
              </a:buClr>
              <a:buSzPct val="90000"/>
              <a:buChar char="»"/>
              <a:defRPr sz="2000">
                <a:solidFill>
                  <a:srgbClr val="1C1C1C"/>
                </a:solidFill>
                <a:latin typeface="Trebuchet MS" panose="020B0703020202090204" pitchFamily="34" charset="0"/>
                <a:ea typeface="MS PGothic" panose="020B0600070205080204" pitchFamily="34" charset="-128"/>
              </a:defRPr>
            </a:lvl8pPr>
            <a:lvl9pPr marL="3886200" indent="-228600" eaLnBrk="0" fontAlgn="base" hangingPunct="0">
              <a:spcBef>
                <a:spcPct val="20000"/>
              </a:spcBef>
              <a:spcAft>
                <a:spcPct val="0"/>
              </a:spcAft>
              <a:buClr>
                <a:srgbClr val="640032"/>
              </a:buClr>
              <a:buSzPct val="90000"/>
              <a:buChar char="»"/>
              <a:defRPr sz="2000">
                <a:solidFill>
                  <a:srgbClr val="1C1C1C"/>
                </a:solidFill>
                <a:latin typeface="Trebuchet MS" panose="020B0703020202090204" pitchFamily="34" charset="0"/>
                <a:ea typeface="MS PGothic" panose="020B0600070205080204" pitchFamily="34" charset="-128"/>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it-IT" altLang="it-IT" sz="1200" b="1" i="0" u="none" strike="noStrike" kern="1200" cap="none" spc="0" normalizeH="0" baseline="0" noProof="0" dirty="0">
                <a:ln>
                  <a:noFill/>
                </a:ln>
                <a:solidFill>
                  <a:prstClr val="black"/>
                </a:solidFill>
                <a:effectLst/>
                <a:uLnTx/>
                <a:uFillTx/>
                <a:latin typeface="Titillium Web"/>
                <a:ea typeface="MS PGothic" panose="020B0600070205080204" pitchFamily="34" charset="-128"/>
                <a:cs typeface="+mn-cs"/>
              </a:rPr>
              <a:t>Periodo di inclusione</a:t>
            </a:r>
          </a:p>
          <a:p>
            <a:pPr marL="0" marR="0" lvl="0" indent="0" algn="ctr" defTabSz="457200" rtl="0" eaLnBrk="1" fontAlgn="auto" latinLnBrk="0" hangingPunct="1">
              <a:lnSpc>
                <a:spcPct val="100000"/>
              </a:lnSpc>
              <a:spcBef>
                <a:spcPct val="0"/>
              </a:spcBef>
              <a:spcAft>
                <a:spcPts val="0"/>
              </a:spcAft>
              <a:buClrTx/>
              <a:buSzTx/>
              <a:buFontTx/>
              <a:buNone/>
              <a:tabLst/>
              <a:defRPr/>
            </a:pPr>
            <a:r>
              <a:rPr kumimoji="0" lang="it-IT" altLang="it-IT" sz="1200" b="1" i="1" u="none" strike="noStrike" kern="1200" cap="none" spc="0" normalizeH="0" baseline="0" noProof="0" dirty="0" err="1">
                <a:ln>
                  <a:noFill/>
                </a:ln>
                <a:solidFill>
                  <a:prstClr val="black"/>
                </a:solidFill>
                <a:effectLst/>
                <a:uLnTx/>
                <a:uFillTx/>
                <a:latin typeface="Titillium Web"/>
                <a:ea typeface="MS PGothic" panose="020B0600070205080204" pitchFamily="34" charset="-128"/>
                <a:cs typeface="+mn-cs"/>
              </a:rPr>
              <a:t>Gen</a:t>
            </a:r>
            <a:r>
              <a:rPr kumimoji="0" lang="it-IT" altLang="it-IT" sz="1200" b="1" i="1" u="none" strike="noStrike" kern="1200" cap="none" spc="0" normalizeH="0" baseline="0" noProof="0" dirty="0">
                <a:ln>
                  <a:noFill/>
                </a:ln>
                <a:solidFill>
                  <a:prstClr val="black"/>
                </a:solidFill>
                <a:effectLst/>
                <a:uLnTx/>
                <a:uFillTx/>
                <a:latin typeface="Titillium Web"/>
                <a:ea typeface="MS PGothic" panose="020B0600070205080204" pitchFamily="34" charset="-128"/>
                <a:cs typeface="+mn-cs"/>
              </a:rPr>
              <a:t> 2015-Dic 2017</a:t>
            </a:r>
            <a:endParaRPr kumimoji="0" lang="it-IT" altLang="it-IT" sz="1200" b="1" i="0" u="none" strike="noStrike" kern="1200" cap="none" spc="0" normalizeH="0" baseline="0" noProof="0" dirty="0">
              <a:ln>
                <a:noFill/>
              </a:ln>
              <a:solidFill>
                <a:prstClr val="black"/>
              </a:solidFill>
              <a:effectLst/>
              <a:uLnTx/>
              <a:uFillTx/>
              <a:latin typeface="Titillium Web"/>
              <a:ea typeface="MS PGothic" panose="020B0600070205080204" pitchFamily="34" charset="-128"/>
              <a:cs typeface="+mn-cs"/>
            </a:endParaRPr>
          </a:p>
        </p:txBody>
      </p:sp>
      <p:sp>
        <p:nvSpPr>
          <p:cNvPr id="33" name="Rectangle 11">
            <a:extLst>
              <a:ext uri="{FF2B5EF4-FFF2-40B4-BE49-F238E27FC236}">
                <a16:creationId xmlns:a16="http://schemas.microsoft.com/office/drawing/2014/main" id="{51AD672D-3255-444D-B666-75F830632D94}"/>
              </a:ext>
            </a:extLst>
          </p:cNvPr>
          <p:cNvSpPr>
            <a:spLocks noChangeArrowheads="1"/>
          </p:cNvSpPr>
          <p:nvPr/>
        </p:nvSpPr>
        <p:spPr bwMode="auto">
          <a:xfrm>
            <a:off x="2038541" y="4693156"/>
            <a:ext cx="8905907" cy="53860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spcBef>
                <a:spcPct val="20000"/>
              </a:spcBef>
              <a:buClr>
                <a:srgbClr val="640032"/>
              </a:buClr>
              <a:buSzPct val="90000"/>
              <a:buChar char="•"/>
              <a:defRPr sz="2000">
                <a:solidFill>
                  <a:srgbClr val="1C1C1C"/>
                </a:solidFill>
                <a:latin typeface="Trebuchet MS" panose="020B0703020202090204" pitchFamily="34" charset="0"/>
                <a:ea typeface="MS PGothic" panose="020B0600070205080204" pitchFamily="34" charset="-128"/>
              </a:defRPr>
            </a:lvl1pPr>
            <a:lvl2pPr marL="742950" indent="-285750">
              <a:spcBef>
                <a:spcPct val="20000"/>
              </a:spcBef>
              <a:buClr>
                <a:srgbClr val="640032"/>
              </a:buClr>
              <a:buSzPct val="90000"/>
              <a:buChar char="•"/>
              <a:defRPr sz="2000">
                <a:solidFill>
                  <a:srgbClr val="1C1C1C"/>
                </a:solidFill>
                <a:latin typeface="Trebuchet MS" panose="020B0703020202090204" pitchFamily="34" charset="0"/>
                <a:ea typeface="MS PGothic" panose="020B0600070205080204" pitchFamily="34" charset="-128"/>
              </a:defRPr>
            </a:lvl2pPr>
            <a:lvl3pPr marL="1143000" indent="-228600">
              <a:spcBef>
                <a:spcPct val="20000"/>
              </a:spcBef>
              <a:buClr>
                <a:srgbClr val="640032"/>
              </a:buClr>
              <a:buSzPct val="90000"/>
              <a:buChar char="•"/>
              <a:defRPr sz="2000">
                <a:solidFill>
                  <a:srgbClr val="1C1C1C"/>
                </a:solidFill>
                <a:latin typeface="Trebuchet MS" panose="020B0703020202090204" pitchFamily="34" charset="0"/>
                <a:ea typeface="MS PGothic" panose="020B0600070205080204" pitchFamily="34" charset="-128"/>
              </a:defRPr>
            </a:lvl3pPr>
            <a:lvl4pPr marL="1600200" indent="-228600">
              <a:spcBef>
                <a:spcPct val="20000"/>
              </a:spcBef>
              <a:buClr>
                <a:srgbClr val="640032"/>
              </a:buClr>
              <a:buSzPct val="90000"/>
              <a:buChar char="–"/>
              <a:defRPr sz="2000">
                <a:solidFill>
                  <a:srgbClr val="1C1C1C"/>
                </a:solidFill>
                <a:latin typeface="Trebuchet MS" panose="020B0703020202090204" pitchFamily="34" charset="0"/>
                <a:ea typeface="MS PGothic" panose="020B0600070205080204" pitchFamily="34" charset="-128"/>
              </a:defRPr>
            </a:lvl4pPr>
            <a:lvl5pPr marL="2057400" indent="-228600">
              <a:spcBef>
                <a:spcPct val="20000"/>
              </a:spcBef>
              <a:buClr>
                <a:srgbClr val="640032"/>
              </a:buClr>
              <a:buSzPct val="90000"/>
              <a:buChar char="»"/>
              <a:defRPr sz="2000">
                <a:solidFill>
                  <a:srgbClr val="1C1C1C"/>
                </a:solidFill>
                <a:latin typeface="Trebuchet MS" panose="020B0703020202090204" pitchFamily="34" charset="0"/>
                <a:ea typeface="MS PGothic" panose="020B0600070205080204" pitchFamily="34" charset="-128"/>
              </a:defRPr>
            </a:lvl5pPr>
            <a:lvl6pPr marL="2514600" indent="-228600" eaLnBrk="0" fontAlgn="base" hangingPunct="0">
              <a:spcBef>
                <a:spcPct val="20000"/>
              </a:spcBef>
              <a:spcAft>
                <a:spcPct val="0"/>
              </a:spcAft>
              <a:buClr>
                <a:srgbClr val="640032"/>
              </a:buClr>
              <a:buSzPct val="90000"/>
              <a:buChar char="»"/>
              <a:defRPr sz="2000">
                <a:solidFill>
                  <a:srgbClr val="1C1C1C"/>
                </a:solidFill>
                <a:latin typeface="Trebuchet MS" panose="020B0703020202090204" pitchFamily="34" charset="0"/>
                <a:ea typeface="MS PGothic" panose="020B0600070205080204" pitchFamily="34" charset="-128"/>
              </a:defRPr>
            </a:lvl6pPr>
            <a:lvl7pPr marL="2971800" indent="-228600" eaLnBrk="0" fontAlgn="base" hangingPunct="0">
              <a:spcBef>
                <a:spcPct val="20000"/>
              </a:spcBef>
              <a:spcAft>
                <a:spcPct val="0"/>
              </a:spcAft>
              <a:buClr>
                <a:srgbClr val="640032"/>
              </a:buClr>
              <a:buSzPct val="90000"/>
              <a:buChar char="»"/>
              <a:defRPr sz="2000">
                <a:solidFill>
                  <a:srgbClr val="1C1C1C"/>
                </a:solidFill>
                <a:latin typeface="Trebuchet MS" panose="020B0703020202090204" pitchFamily="34" charset="0"/>
                <a:ea typeface="MS PGothic" panose="020B0600070205080204" pitchFamily="34" charset="-128"/>
              </a:defRPr>
            </a:lvl7pPr>
            <a:lvl8pPr marL="3429000" indent="-228600" eaLnBrk="0" fontAlgn="base" hangingPunct="0">
              <a:spcBef>
                <a:spcPct val="20000"/>
              </a:spcBef>
              <a:spcAft>
                <a:spcPct val="0"/>
              </a:spcAft>
              <a:buClr>
                <a:srgbClr val="640032"/>
              </a:buClr>
              <a:buSzPct val="90000"/>
              <a:buChar char="»"/>
              <a:defRPr sz="2000">
                <a:solidFill>
                  <a:srgbClr val="1C1C1C"/>
                </a:solidFill>
                <a:latin typeface="Trebuchet MS" panose="020B0703020202090204" pitchFamily="34" charset="0"/>
                <a:ea typeface="MS PGothic" panose="020B0600070205080204" pitchFamily="34" charset="-128"/>
              </a:defRPr>
            </a:lvl8pPr>
            <a:lvl9pPr marL="3886200" indent="-228600" eaLnBrk="0" fontAlgn="base" hangingPunct="0">
              <a:spcBef>
                <a:spcPct val="20000"/>
              </a:spcBef>
              <a:spcAft>
                <a:spcPct val="0"/>
              </a:spcAft>
              <a:buClr>
                <a:srgbClr val="640032"/>
              </a:buClr>
              <a:buSzPct val="90000"/>
              <a:buChar char="»"/>
              <a:defRPr sz="2000">
                <a:solidFill>
                  <a:srgbClr val="1C1C1C"/>
                </a:solidFill>
                <a:latin typeface="Trebuchet MS" panose="020B0703020202090204" pitchFamily="34" charset="0"/>
                <a:ea typeface="MS PGothic" panose="020B0600070205080204" pitchFamily="34" charset="-128"/>
              </a:defRPr>
            </a:lvl9pPr>
          </a:lstStyle>
          <a:p>
            <a:pPr marL="0" marR="0" lvl="0" indent="0" algn="l" defTabSz="457200" rtl="0" eaLnBrk="1" fontAlgn="auto" latinLnBrk="0" hangingPunct="1">
              <a:lnSpc>
                <a:spcPct val="100000"/>
              </a:lnSpc>
              <a:spcBef>
                <a:spcPct val="0"/>
              </a:spcBef>
              <a:spcAft>
                <a:spcPts val="600"/>
              </a:spcAft>
              <a:buClrTx/>
              <a:buSzTx/>
              <a:buFontTx/>
              <a:buNone/>
              <a:tabLst/>
              <a:defRPr/>
            </a:pPr>
            <a:r>
              <a:rPr kumimoji="0" lang="it-IT" altLang="it-IT" sz="1200" b="1" i="1" u="none" strike="noStrike" kern="1200" cap="none" spc="0" normalizeH="0" baseline="0" noProof="0" dirty="0">
                <a:ln>
                  <a:noFill/>
                </a:ln>
                <a:solidFill>
                  <a:prstClr val="black"/>
                </a:solidFill>
                <a:effectLst/>
                <a:uLnTx/>
                <a:uFillTx/>
                <a:latin typeface="Titillium Web"/>
                <a:ea typeface="MS PGothic" panose="020B0600070205080204" pitchFamily="34" charset="-128"/>
                <a:cs typeface="+mn-cs"/>
              </a:rPr>
              <a:t>             1</a:t>
            </a:r>
            <a:r>
              <a:rPr kumimoji="0" lang="it-IT" altLang="it-IT" sz="1200" b="1" i="1" u="none" strike="noStrike" kern="1200" cap="none" spc="0" normalizeH="0" baseline="30000" noProof="0" dirty="0">
                <a:ln>
                  <a:noFill/>
                </a:ln>
                <a:solidFill>
                  <a:prstClr val="black"/>
                </a:solidFill>
                <a:effectLst/>
                <a:uLnTx/>
                <a:uFillTx/>
                <a:latin typeface="Titillium Web"/>
                <a:ea typeface="MS PGothic" panose="020B0600070205080204" pitchFamily="34" charset="-128"/>
                <a:cs typeface="+mn-cs"/>
              </a:rPr>
              <a:t>a</a:t>
            </a:r>
            <a:r>
              <a:rPr kumimoji="0" lang="it-IT" altLang="it-IT" sz="1200" b="1" i="1" u="none" strike="noStrike" kern="1200" cap="none" spc="0" normalizeH="0" baseline="0" noProof="0" dirty="0">
                <a:ln>
                  <a:noFill/>
                </a:ln>
                <a:solidFill>
                  <a:prstClr val="black"/>
                </a:solidFill>
                <a:effectLst/>
                <a:uLnTx/>
                <a:uFillTx/>
                <a:latin typeface="Titillium Web"/>
                <a:ea typeface="MS PGothic" panose="020B0600070205080204" pitchFamily="34" charset="-128"/>
                <a:cs typeface="+mn-cs"/>
              </a:rPr>
              <a:t> prescrizione entro il periodo di inclusione (index date)                       Caratterizzazione (1 anno) </a:t>
            </a:r>
          </a:p>
          <a:p>
            <a:pPr marL="0" marR="0" lvl="0" indent="0" algn="ctr" defTabSz="457200" rtl="0" eaLnBrk="1" fontAlgn="auto" latinLnBrk="0" hangingPunct="1">
              <a:lnSpc>
                <a:spcPct val="100000"/>
              </a:lnSpc>
              <a:spcBef>
                <a:spcPct val="0"/>
              </a:spcBef>
              <a:spcAft>
                <a:spcPts val="600"/>
              </a:spcAft>
              <a:buClrTx/>
              <a:buSzTx/>
              <a:buFontTx/>
              <a:buNone/>
              <a:tabLst/>
              <a:defRPr/>
            </a:pPr>
            <a:r>
              <a:rPr kumimoji="0" lang="it-IT" altLang="it-IT" sz="1200" b="1" i="1" u="none" strike="noStrike" kern="1200" cap="none" spc="0" normalizeH="0" baseline="0" noProof="0" dirty="0">
                <a:ln>
                  <a:noFill/>
                </a:ln>
                <a:solidFill>
                  <a:prstClr val="black"/>
                </a:solidFill>
                <a:effectLst/>
                <a:uLnTx/>
                <a:uFillTx/>
                <a:latin typeface="Titillium Web"/>
                <a:ea typeface="MS PGothic" panose="020B0600070205080204" pitchFamily="34" charset="-128"/>
                <a:cs typeface="+mn-cs"/>
              </a:rPr>
              <a:t>                                                                                                Follow-up (tutto il periodo disponibile)</a:t>
            </a:r>
          </a:p>
        </p:txBody>
      </p:sp>
      <p:sp>
        <p:nvSpPr>
          <p:cNvPr id="34" name="Rettangolo con angoli arrotondati 5">
            <a:extLst>
              <a:ext uri="{FF2B5EF4-FFF2-40B4-BE49-F238E27FC236}">
                <a16:creationId xmlns:a16="http://schemas.microsoft.com/office/drawing/2014/main" id="{8FC82895-F302-0344-B931-B6765DE9DE12}"/>
              </a:ext>
            </a:extLst>
          </p:cNvPr>
          <p:cNvSpPr/>
          <p:nvPr/>
        </p:nvSpPr>
        <p:spPr>
          <a:xfrm>
            <a:off x="1928282" y="1734372"/>
            <a:ext cx="8372567" cy="3558016"/>
          </a:xfrm>
          <a:prstGeom prst="roundRect">
            <a:avLst/>
          </a:prstGeom>
          <a:noFill/>
          <a:ln w="19050">
            <a:solidFill>
              <a:srgbClr val="6800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Titillium Web"/>
              <a:ea typeface="+mn-ea"/>
              <a:cs typeface="+mn-cs"/>
            </a:endParaRPr>
          </a:p>
        </p:txBody>
      </p:sp>
      <p:pic>
        <p:nvPicPr>
          <p:cNvPr id="35" name="Picture 56" descr="Immagine">
            <a:extLst>
              <a:ext uri="{FF2B5EF4-FFF2-40B4-BE49-F238E27FC236}">
                <a16:creationId xmlns:a16="http://schemas.microsoft.com/office/drawing/2014/main" id="{9730D20D-63AA-8047-819F-E7C7E497631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40028" y="4638340"/>
            <a:ext cx="323850" cy="4460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6" name="Line 12">
            <a:extLst>
              <a:ext uri="{FF2B5EF4-FFF2-40B4-BE49-F238E27FC236}">
                <a16:creationId xmlns:a16="http://schemas.microsoft.com/office/drawing/2014/main" id="{C2E4B687-9864-D54F-AD51-5836B95D7377}"/>
              </a:ext>
            </a:extLst>
          </p:cNvPr>
          <p:cNvSpPr>
            <a:spLocks noChangeShapeType="1"/>
          </p:cNvSpPr>
          <p:nvPr/>
        </p:nvSpPr>
        <p:spPr bwMode="auto">
          <a:xfrm rot="10800000">
            <a:off x="6942085" y="4861383"/>
            <a:ext cx="526062" cy="1"/>
          </a:xfrm>
          <a:prstGeom prst="line">
            <a:avLst/>
          </a:prstGeom>
          <a:noFill/>
          <a:ln w="12700">
            <a:solidFill>
              <a:srgbClr val="680047"/>
            </a:solidFill>
            <a:prstDash val="lgDash"/>
            <a:round/>
            <a:headEnd/>
            <a:tailEnd type="arrow" w="lg" len="lg"/>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706F6F"/>
              </a:solidFill>
              <a:effectLst/>
              <a:uLnTx/>
              <a:uFillTx/>
              <a:latin typeface="Titillium Web"/>
              <a:ea typeface="MS PGothic" charset="0"/>
              <a:cs typeface="MS PGothic" charset="0"/>
            </a:endParaRPr>
          </a:p>
        </p:txBody>
      </p:sp>
      <p:sp>
        <p:nvSpPr>
          <p:cNvPr id="37" name="Line 13">
            <a:extLst>
              <a:ext uri="{FF2B5EF4-FFF2-40B4-BE49-F238E27FC236}">
                <a16:creationId xmlns:a16="http://schemas.microsoft.com/office/drawing/2014/main" id="{E73341E1-17E4-7347-97FC-A941311164C9}"/>
              </a:ext>
            </a:extLst>
          </p:cNvPr>
          <p:cNvSpPr>
            <a:spLocks noChangeShapeType="1"/>
          </p:cNvSpPr>
          <p:nvPr/>
        </p:nvSpPr>
        <p:spPr bwMode="auto">
          <a:xfrm>
            <a:off x="6308918" y="5094793"/>
            <a:ext cx="539750" cy="0"/>
          </a:xfrm>
          <a:prstGeom prst="line">
            <a:avLst/>
          </a:prstGeom>
          <a:noFill/>
          <a:ln w="12700">
            <a:solidFill>
              <a:srgbClr val="680047"/>
            </a:solidFill>
            <a:round/>
            <a:headEnd/>
            <a:tailEnd type="arrow" w="lg" len="lg"/>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706F6F"/>
              </a:solidFill>
              <a:effectLst/>
              <a:uLnTx/>
              <a:uFillTx/>
              <a:latin typeface="Titillium Web"/>
              <a:ea typeface="MS PGothic" charset="0"/>
              <a:cs typeface="MS PGothic" charset="0"/>
            </a:endParaRPr>
          </a:p>
        </p:txBody>
      </p:sp>
    </p:spTree>
    <p:extLst>
      <p:ext uri="{BB962C8B-B14F-4D97-AF65-F5344CB8AC3E}">
        <p14:creationId xmlns:p14="http://schemas.microsoft.com/office/powerpoint/2010/main" val="29044820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Grafico 4">
            <a:extLst>
              <a:ext uri="{FF2B5EF4-FFF2-40B4-BE49-F238E27FC236}">
                <a16:creationId xmlns:a16="http://schemas.microsoft.com/office/drawing/2014/main" id="{7A288F3C-9041-C043-9995-C069EB2534B8}"/>
              </a:ext>
            </a:extLst>
          </p:cNvPr>
          <p:cNvGraphicFramePr/>
          <p:nvPr>
            <p:extLst/>
          </p:nvPr>
        </p:nvGraphicFramePr>
        <p:xfrm>
          <a:off x="3111500" y="1859785"/>
          <a:ext cx="6070600" cy="4047067"/>
        </p:xfrm>
        <a:graphic>
          <a:graphicData uri="http://schemas.openxmlformats.org/drawingml/2006/chart">
            <c:chart xmlns:c="http://schemas.openxmlformats.org/drawingml/2006/chart" xmlns:r="http://schemas.openxmlformats.org/officeDocument/2006/relationships" r:id="rId2"/>
          </a:graphicData>
        </a:graphic>
      </p:graphicFrame>
      <p:sp>
        <p:nvSpPr>
          <p:cNvPr id="6" name="Rectangle 2">
            <a:extLst>
              <a:ext uri="{FF2B5EF4-FFF2-40B4-BE49-F238E27FC236}">
                <a16:creationId xmlns:a16="http://schemas.microsoft.com/office/drawing/2014/main" id="{AFB1E991-C5DE-F147-B20E-1307C5CF456E}"/>
              </a:ext>
            </a:extLst>
          </p:cNvPr>
          <p:cNvSpPr>
            <a:spLocks noChangeArrowheads="1"/>
          </p:cNvSpPr>
          <p:nvPr/>
        </p:nvSpPr>
        <p:spPr bwMode="auto">
          <a:xfrm>
            <a:off x="4797054" y="299604"/>
            <a:ext cx="2747396" cy="627248"/>
          </a:xfrm>
          <a:prstGeom prst="rect">
            <a:avLst/>
          </a:prstGeom>
          <a:noFill/>
          <a:ln>
            <a:noFill/>
          </a:ln>
          <a:effectLst/>
          <a:ex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2800" b="0" i="0" u="none" strike="noStrike" kern="1200" cap="none" spc="0" normalizeH="0" baseline="0" noProof="0" dirty="0">
                <a:ln>
                  <a:noFill/>
                </a:ln>
                <a:solidFill>
                  <a:srgbClr val="680047"/>
                </a:solidFill>
                <a:effectLst/>
                <a:uLnTx/>
                <a:uFillTx/>
                <a:latin typeface="Century Gothic" panose="020B0502020202020204"/>
                <a:ea typeface="+mn-ea"/>
                <a:cs typeface="+mn-cs"/>
              </a:rPr>
              <a:t>RISULTATI</a:t>
            </a:r>
          </a:p>
        </p:txBody>
      </p:sp>
      <p:sp>
        <p:nvSpPr>
          <p:cNvPr id="7" name="Rettangolo 6">
            <a:extLst>
              <a:ext uri="{FF2B5EF4-FFF2-40B4-BE49-F238E27FC236}">
                <a16:creationId xmlns:a16="http://schemas.microsoft.com/office/drawing/2014/main" id="{21030B12-B56E-E74B-8BB3-83FD15F9BCDD}"/>
              </a:ext>
            </a:extLst>
          </p:cNvPr>
          <p:cNvSpPr/>
          <p:nvPr/>
        </p:nvSpPr>
        <p:spPr>
          <a:xfrm>
            <a:off x="2127204" y="1164677"/>
            <a:ext cx="8087096" cy="400110"/>
          </a:xfrm>
          <a:prstGeom prst="rect">
            <a:avLst/>
          </a:prstGeom>
          <a:solidFill>
            <a:srgbClr val="680047">
              <a:alpha val="38000"/>
            </a:srgbClr>
          </a:solidFill>
          <a:ln>
            <a:solidFill>
              <a:srgbClr val="680047"/>
            </a:solidFill>
          </a:ln>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Century Gothic" panose="020B0502020202020204"/>
                <a:ea typeface="+mn-ea"/>
                <a:cs typeface="+mn-cs"/>
              </a:rPr>
              <a:t>TASSO DI INCIDENZA MACE PER 100 PAZIENTI-ANNO, DOPO PSM*</a:t>
            </a:r>
            <a:endParaRPr kumimoji="0" lang="it-IT" sz="2000" b="0" i="0" u="none" strike="noStrike" kern="1200" cap="none" spc="0" normalizeH="0" baseline="0" noProof="0" dirty="0">
              <a:ln>
                <a:noFill/>
              </a:ln>
              <a:solidFill>
                <a:prstClr val="black"/>
              </a:solidFill>
              <a:effectLst/>
              <a:uLnTx/>
              <a:uFillTx/>
              <a:latin typeface="Century Gothic" panose="020B0502020202020204"/>
              <a:ea typeface="+mn-ea"/>
              <a:cs typeface="+mn-cs"/>
            </a:endParaRPr>
          </a:p>
        </p:txBody>
      </p:sp>
      <p:sp>
        <p:nvSpPr>
          <p:cNvPr id="8" name="Rettangolo 7">
            <a:extLst>
              <a:ext uri="{FF2B5EF4-FFF2-40B4-BE49-F238E27FC236}">
                <a16:creationId xmlns:a16="http://schemas.microsoft.com/office/drawing/2014/main" id="{B9F7DF26-F150-0C44-9B5B-E8580D6979AB}"/>
              </a:ext>
            </a:extLst>
          </p:cNvPr>
          <p:cNvSpPr/>
          <p:nvPr/>
        </p:nvSpPr>
        <p:spPr>
          <a:xfrm>
            <a:off x="1673504" y="6258749"/>
            <a:ext cx="8994496" cy="276999"/>
          </a:xfrm>
          <a:prstGeom prst="rect">
            <a:avLst/>
          </a:prstGeom>
        </p:spPr>
        <p:txBody>
          <a:bodyPr wrap="square">
            <a:spAutoFit/>
          </a:bodyPr>
          <a:lstStyle/>
          <a:p>
            <a:pPr marL="0" marR="0" lvl="0" indent="0" algn="just" defTabSz="4572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entury Gothic" panose="020B0502020202020204"/>
                <a:ea typeface="MS Mincho" panose="02020609040205080304" pitchFamily="49" charset="-128"/>
                <a:cs typeface="+mn-cs"/>
              </a:rPr>
              <a:t>*Note: Propensity Score Matching calculated on a 1:1:1:1 matching based on all characteristics reported in the table</a:t>
            </a:r>
            <a:endParaRPr kumimoji="0" lang="en-GB" sz="1200" b="0" i="0" u="none" strike="noStrike" kern="1200" cap="none" spc="0" normalizeH="0" baseline="0" noProof="0" dirty="0">
              <a:ln>
                <a:noFill/>
              </a:ln>
              <a:solidFill>
                <a:prstClr val="black"/>
              </a:solidFill>
              <a:effectLst/>
              <a:uLnTx/>
              <a:uFillTx/>
              <a:latin typeface="Century Gothic" panose="020B0502020202020204"/>
              <a:ea typeface="MS Mincho" panose="02020609040205080304" pitchFamily="49" charset="-128"/>
              <a:cs typeface="+mn-cs"/>
            </a:endParaRPr>
          </a:p>
        </p:txBody>
      </p:sp>
    </p:spTree>
    <p:extLst>
      <p:ext uri="{BB962C8B-B14F-4D97-AF65-F5344CB8AC3E}">
        <p14:creationId xmlns:p14="http://schemas.microsoft.com/office/powerpoint/2010/main" val="13145157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a:extLst>
              <a:ext uri="{FF2B5EF4-FFF2-40B4-BE49-F238E27FC236}">
                <a16:creationId xmlns:a16="http://schemas.microsoft.com/office/drawing/2014/main" id="{AFB1E991-C5DE-F147-B20E-1307C5CF456E}"/>
              </a:ext>
            </a:extLst>
          </p:cNvPr>
          <p:cNvSpPr>
            <a:spLocks noChangeArrowheads="1"/>
          </p:cNvSpPr>
          <p:nvPr/>
        </p:nvSpPr>
        <p:spPr bwMode="auto">
          <a:xfrm>
            <a:off x="4797054" y="299604"/>
            <a:ext cx="2747396" cy="627248"/>
          </a:xfrm>
          <a:prstGeom prst="rect">
            <a:avLst/>
          </a:prstGeom>
          <a:noFill/>
          <a:ln>
            <a:noFill/>
          </a:ln>
          <a:effectLst/>
          <a:ex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2800" b="0" i="0" u="none" strike="noStrike" kern="1200" cap="none" spc="0" normalizeH="0" baseline="0" noProof="0" dirty="0">
                <a:ln>
                  <a:noFill/>
                </a:ln>
                <a:solidFill>
                  <a:srgbClr val="680047"/>
                </a:solidFill>
                <a:effectLst/>
                <a:uLnTx/>
                <a:uFillTx/>
                <a:latin typeface="Century Gothic" panose="020B0502020202020204"/>
                <a:ea typeface="+mn-ea"/>
                <a:cs typeface="+mn-cs"/>
              </a:rPr>
              <a:t>RISULTATI</a:t>
            </a:r>
          </a:p>
        </p:txBody>
      </p:sp>
      <p:sp>
        <p:nvSpPr>
          <p:cNvPr id="7" name="Rettangolo 6">
            <a:extLst>
              <a:ext uri="{FF2B5EF4-FFF2-40B4-BE49-F238E27FC236}">
                <a16:creationId xmlns:a16="http://schemas.microsoft.com/office/drawing/2014/main" id="{21030B12-B56E-E74B-8BB3-83FD15F9BCDD}"/>
              </a:ext>
            </a:extLst>
          </p:cNvPr>
          <p:cNvSpPr/>
          <p:nvPr/>
        </p:nvSpPr>
        <p:spPr>
          <a:xfrm>
            <a:off x="2127204" y="1037081"/>
            <a:ext cx="8087096" cy="400110"/>
          </a:xfrm>
          <a:prstGeom prst="rect">
            <a:avLst/>
          </a:prstGeom>
          <a:solidFill>
            <a:srgbClr val="680047">
              <a:alpha val="38000"/>
            </a:srgbClr>
          </a:solidFill>
          <a:ln>
            <a:solidFill>
              <a:srgbClr val="680047"/>
            </a:solidFill>
          </a:ln>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Century Gothic" panose="020B0502020202020204"/>
                <a:ea typeface="+mn-ea"/>
                <a:cs typeface="+mn-cs"/>
              </a:rPr>
              <a:t>COX REGRESSION MODEL, DOPO PSM</a:t>
            </a:r>
            <a:endParaRPr kumimoji="0" lang="it-IT" sz="2000" b="0" i="0" u="none" strike="noStrike" kern="1200" cap="none" spc="0" normalizeH="0" baseline="0" noProof="0" dirty="0">
              <a:ln>
                <a:noFill/>
              </a:ln>
              <a:solidFill>
                <a:prstClr val="black"/>
              </a:solidFill>
              <a:effectLst/>
              <a:uLnTx/>
              <a:uFillTx/>
              <a:latin typeface="Century Gothic" panose="020B0502020202020204"/>
              <a:ea typeface="+mn-ea"/>
              <a:cs typeface="+mn-cs"/>
            </a:endParaRPr>
          </a:p>
        </p:txBody>
      </p:sp>
      <p:graphicFrame>
        <p:nvGraphicFramePr>
          <p:cNvPr id="8" name="Tabella 4">
            <a:extLst>
              <a:ext uri="{FF2B5EF4-FFF2-40B4-BE49-F238E27FC236}">
                <a16:creationId xmlns:a16="http://schemas.microsoft.com/office/drawing/2014/main" id="{2B5DA7D2-6B69-444A-9935-0B2A2343DCB3}"/>
              </a:ext>
            </a:extLst>
          </p:cNvPr>
          <p:cNvGraphicFramePr>
            <a:graphicFrameLocks noGrp="1"/>
          </p:cNvGraphicFramePr>
          <p:nvPr>
            <p:extLst/>
          </p:nvPr>
        </p:nvGraphicFramePr>
        <p:xfrm>
          <a:off x="2709095" y="1532134"/>
          <a:ext cx="6923315" cy="1450762"/>
        </p:xfrm>
        <a:graphic>
          <a:graphicData uri="http://schemas.openxmlformats.org/drawingml/2006/table">
            <a:tbl>
              <a:tblPr firstRow="1" bandRow="1">
                <a:tableStyleId>{2D5ABB26-0587-4C30-8999-92F81FD0307C}</a:tableStyleId>
              </a:tblPr>
              <a:tblGrid>
                <a:gridCol w="1424200">
                  <a:extLst>
                    <a:ext uri="{9D8B030D-6E8A-4147-A177-3AD203B41FA5}">
                      <a16:colId xmlns:a16="http://schemas.microsoft.com/office/drawing/2014/main" val="1447411144"/>
                    </a:ext>
                  </a:extLst>
                </a:gridCol>
                <a:gridCol w="2045234">
                  <a:extLst>
                    <a:ext uri="{9D8B030D-6E8A-4147-A177-3AD203B41FA5}">
                      <a16:colId xmlns:a16="http://schemas.microsoft.com/office/drawing/2014/main" val="4101725756"/>
                    </a:ext>
                  </a:extLst>
                </a:gridCol>
                <a:gridCol w="1021112">
                  <a:extLst>
                    <a:ext uri="{9D8B030D-6E8A-4147-A177-3AD203B41FA5}">
                      <a16:colId xmlns:a16="http://schemas.microsoft.com/office/drawing/2014/main" val="472252675"/>
                    </a:ext>
                  </a:extLst>
                </a:gridCol>
                <a:gridCol w="1183839">
                  <a:extLst>
                    <a:ext uri="{9D8B030D-6E8A-4147-A177-3AD203B41FA5}">
                      <a16:colId xmlns:a16="http://schemas.microsoft.com/office/drawing/2014/main" val="1418995867"/>
                    </a:ext>
                  </a:extLst>
                </a:gridCol>
                <a:gridCol w="1248930">
                  <a:extLst>
                    <a:ext uri="{9D8B030D-6E8A-4147-A177-3AD203B41FA5}">
                      <a16:colId xmlns:a16="http://schemas.microsoft.com/office/drawing/2014/main" val="3326373835"/>
                    </a:ext>
                  </a:extLst>
                </a:gridCol>
              </a:tblGrid>
              <a:tr h="271673">
                <a:tc>
                  <a:txBody>
                    <a:bodyPr/>
                    <a:lstStyle/>
                    <a:p>
                      <a:pPr algn="ctr" fontAlgn="ctr"/>
                      <a:endParaRPr lang="it-IT" sz="1600" b="0" i="0" u="none" strike="noStrike" dirty="0">
                        <a:solidFill>
                          <a:schemeClr val="tx1"/>
                        </a:solidFill>
                        <a:effectLst/>
                        <a:latin typeface="+mn-lt"/>
                      </a:endParaRPr>
                    </a:p>
                  </a:txBody>
                  <a:tcPr marL="6350" marR="6350" marT="6350" marB="0" anchor="ct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it-IT" sz="1600" b="1" u="none" strike="noStrike" dirty="0">
                          <a:solidFill>
                            <a:schemeClr val="tx1"/>
                          </a:solidFill>
                          <a:effectLst/>
                          <a:latin typeface="+mn-lt"/>
                        </a:rPr>
                        <a:t>HR</a:t>
                      </a:r>
                      <a:endParaRPr lang="it-IT" sz="1600" b="1" i="0" u="none" strike="noStrike" dirty="0">
                        <a:solidFill>
                          <a:schemeClr val="tx1"/>
                        </a:solidFill>
                        <a:effectLst/>
                        <a:latin typeface="+mn-lt"/>
                      </a:endParaRPr>
                    </a:p>
                  </a:txBody>
                  <a:tcPr marL="6350" marR="6350" marT="6350" marB="0" anchor="ct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fontAlgn="ctr"/>
                      <a:r>
                        <a:rPr lang="it-IT" sz="1600" b="1" u="none" strike="noStrike" dirty="0">
                          <a:solidFill>
                            <a:schemeClr val="tx1"/>
                          </a:solidFill>
                          <a:effectLst/>
                          <a:latin typeface="+mn-lt"/>
                        </a:rPr>
                        <a:t>95% CI</a:t>
                      </a:r>
                      <a:endParaRPr lang="it-IT" sz="1600" b="1" i="0" u="none" strike="noStrike" dirty="0">
                        <a:solidFill>
                          <a:schemeClr val="tx1"/>
                        </a:solidFill>
                        <a:effectLst/>
                        <a:latin typeface="+mn-lt"/>
                      </a:endParaRPr>
                    </a:p>
                  </a:txBody>
                  <a:tcPr marL="6350" marR="6350" marT="6350" marB="0" anchor="ct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r>
                        <a:rPr lang="it-IT" sz="1600" b="0" u="none" strike="noStrike" dirty="0">
                          <a:solidFill>
                            <a:schemeClr val="tx1"/>
                          </a:solidFill>
                          <a:effectLst/>
                          <a:latin typeface="+mn-lt"/>
                        </a:rPr>
                        <a:t>SGLT2</a:t>
                      </a:r>
                      <a:endParaRPr lang="it-IT" sz="1600" b="0" i="0" u="none" strike="noStrike" dirty="0">
                        <a:solidFill>
                          <a:schemeClr val="tx1"/>
                        </a:solidFill>
                        <a:effectLst/>
                        <a:latin typeface="+mn-lt"/>
                      </a:endParaRPr>
                    </a:p>
                  </a:txBody>
                  <a:tcPr marL="6350" marR="6350" marT="6350" marB="0" anchor="ct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it-IT" sz="1600" b="1" u="none" strike="noStrike" dirty="0">
                          <a:solidFill>
                            <a:schemeClr val="tx1"/>
                          </a:solidFill>
                          <a:effectLst/>
                          <a:latin typeface="+mn-lt"/>
                        </a:rPr>
                        <a:t>p</a:t>
                      </a:r>
                      <a:endParaRPr lang="it-IT" sz="1600" b="1" i="0" u="none" strike="noStrike" dirty="0">
                        <a:solidFill>
                          <a:schemeClr val="tx1"/>
                        </a:solidFill>
                        <a:effectLst/>
                        <a:latin typeface="+mn-lt"/>
                      </a:endParaRPr>
                    </a:p>
                  </a:txBody>
                  <a:tcPr marL="6350" marR="6350" marT="6350" marB="0" anchor="ct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58202231"/>
                  </a:ext>
                </a:extLst>
              </a:tr>
              <a:tr h="364070">
                <a:tc>
                  <a:txBody>
                    <a:bodyPr/>
                    <a:lstStyle/>
                    <a:p>
                      <a:pPr algn="l" rtl="0" fontAlgn="ctr"/>
                      <a:r>
                        <a:rPr lang="it-IT" sz="1600" b="1" i="0" u="none" strike="noStrike" dirty="0" err="1" smtClean="0">
                          <a:solidFill>
                            <a:srgbClr val="680047"/>
                          </a:solidFill>
                          <a:effectLst/>
                          <a:latin typeface="+mn-lt"/>
                        </a:rPr>
                        <a:t>Sulfaniluree</a:t>
                      </a:r>
                      <a:endParaRPr lang="it-IT" sz="1600" b="1" i="0" u="none" strike="noStrike" dirty="0">
                        <a:solidFill>
                          <a:srgbClr val="680047"/>
                        </a:solidFill>
                        <a:effectLst/>
                        <a:latin typeface="+mn-lt"/>
                      </a:endParaRPr>
                    </a:p>
                  </a:txBody>
                  <a:tcPr marL="6350" marR="6350" marT="635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it-IT" sz="1600" b="1" dirty="0">
                          <a:solidFill>
                            <a:srgbClr val="680047"/>
                          </a:solidFill>
                          <a:latin typeface="+mn-lt"/>
                        </a:rPr>
                        <a:t>REF.</a:t>
                      </a:r>
                    </a:p>
                  </a:txBody>
                  <a:tcPr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it-IT" sz="1600" b="1" i="0" u="none" strike="noStrike" dirty="0">
                        <a:solidFill>
                          <a:srgbClr val="680047"/>
                        </a:solidFill>
                        <a:effectLst/>
                        <a:latin typeface="+mn-lt"/>
                      </a:endParaRPr>
                    </a:p>
                  </a:txBody>
                  <a:tcPr marL="6350" marR="6350" marT="635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it-IT" sz="1600" b="1" i="0" u="none" strike="noStrike">
                        <a:solidFill>
                          <a:srgbClr val="680047"/>
                        </a:solidFill>
                        <a:effectLst/>
                        <a:latin typeface="+mn-lt"/>
                      </a:endParaRPr>
                    </a:p>
                  </a:txBody>
                  <a:tcPr marL="6350" marR="6350" marT="635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it-IT" sz="1600" b="1" i="0" u="none" strike="noStrike">
                        <a:solidFill>
                          <a:srgbClr val="680047"/>
                        </a:solidFill>
                        <a:effectLst/>
                        <a:latin typeface="+mn-lt"/>
                      </a:endParaRPr>
                    </a:p>
                  </a:txBody>
                  <a:tcPr marL="6350" marR="6350" marT="635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84710725"/>
                  </a:ext>
                </a:extLst>
              </a:tr>
              <a:tr h="271673">
                <a:tc>
                  <a:txBody>
                    <a:bodyPr/>
                    <a:lstStyle/>
                    <a:p>
                      <a:pPr algn="l" rtl="0" fontAlgn="ctr"/>
                      <a:r>
                        <a:rPr lang="it-IT" sz="1600" b="1" i="0" u="none" strike="noStrike" dirty="0">
                          <a:solidFill>
                            <a:srgbClr val="680047"/>
                          </a:solidFill>
                          <a:effectLst/>
                          <a:latin typeface="+mn-lt"/>
                        </a:rPr>
                        <a:t>DPP4</a:t>
                      </a:r>
                    </a:p>
                  </a:txBody>
                  <a:tcPr marL="6350" marR="6350" marT="635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it-IT" sz="1600" b="1" i="0" u="none" strike="noStrike" dirty="0">
                          <a:solidFill>
                            <a:srgbClr val="680047"/>
                          </a:solidFill>
                          <a:effectLst/>
                          <a:latin typeface="Calibri" panose="020F0502020204030204" pitchFamily="34" charset="0"/>
                        </a:rPr>
                        <a:t>0.838</a:t>
                      </a:r>
                    </a:p>
                  </a:txBody>
                  <a:tcPr marL="6350" marR="6350" marT="635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it-IT" sz="1600" b="1" i="0" u="none" strike="noStrike" dirty="0">
                          <a:solidFill>
                            <a:srgbClr val="680047"/>
                          </a:solidFill>
                          <a:effectLst/>
                          <a:latin typeface="Calibri" panose="020F0502020204030204" pitchFamily="34" charset="0"/>
                        </a:rPr>
                        <a:t>0.656</a:t>
                      </a:r>
                    </a:p>
                  </a:txBody>
                  <a:tcPr marL="6350" marR="6350" marT="635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it-IT" sz="1600" b="1" i="0" u="none" strike="noStrike" dirty="0">
                          <a:solidFill>
                            <a:srgbClr val="680047"/>
                          </a:solidFill>
                          <a:effectLst/>
                          <a:latin typeface="Calibri" panose="020F0502020204030204" pitchFamily="34" charset="0"/>
                        </a:rPr>
                        <a:t>1.070</a:t>
                      </a:r>
                    </a:p>
                  </a:txBody>
                  <a:tcPr marL="6350" marR="6350" marT="635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it-IT" sz="1600" b="1" i="0" u="none" strike="noStrike" dirty="0">
                          <a:solidFill>
                            <a:srgbClr val="680047"/>
                          </a:solidFill>
                          <a:effectLst/>
                          <a:latin typeface="Calibri" panose="020F0502020204030204" pitchFamily="34" charset="0"/>
                        </a:rPr>
                        <a:t>0.155</a:t>
                      </a:r>
                    </a:p>
                  </a:txBody>
                  <a:tcPr marL="6350" marR="6350" marT="635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76619198"/>
                  </a:ext>
                </a:extLst>
              </a:tr>
              <a:tr h="271673">
                <a:tc>
                  <a:txBody>
                    <a:bodyPr/>
                    <a:lstStyle/>
                    <a:p>
                      <a:pPr algn="l" rtl="0" fontAlgn="ctr"/>
                      <a:r>
                        <a:rPr lang="it-IT" sz="1600" b="1" i="0" u="none" strike="noStrike" dirty="0">
                          <a:solidFill>
                            <a:srgbClr val="680047"/>
                          </a:solidFill>
                          <a:effectLst/>
                          <a:latin typeface="+mn-lt"/>
                        </a:rPr>
                        <a:t>SGLT2</a:t>
                      </a:r>
                    </a:p>
                  </a:txBody>
                  <a:tcPr marL="6350" marR="6350" marT="635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it-IT" sz="1600" b="1" i="0" u="none" strike="noStrike" dirty="0">
                          <a:solidFill>
                            <a:srgbClr val="680047"/>
                          </a:solidFill>
                          <a:effectLst/>
                          <a:latin typeface="Calibri" panose="020F0502020204030204" pitchFamily="34" charset="0"/>
                        </a:rPr>
                        <a:t>0.760</a:t>
                      </a:r>
                    </a:p>
                  </a:txBody>
                  <a:tcPr marL="6350" marR="6350" marT="635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it-IT" sz="1600" b="1" i="0" u="none" strike="noStrike" dirty="0">
                          <a:solidFill>
                            <a:srgbClr val="680047"/>
                          </a:solidFill>
                          <a:effectLst/>
                          <a:latin typeface="Calibri" panose="020F0502020204030204" pitchFamily="34" charset="0"/>
                        </a:rPr>
                        <a:t>0.585</a:t>
                      </a:r>
                    </a:p>
                  </a:txBody>
                  <a:tcPr marL="6350" marR="6350" marT="635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it-IT" sz="1600" b="1" i="0" u="none" strike="noStrike" dirty="0">
                          <a:solidFill>
                            <a:srgbClr val="680047"/>
                          </a:solidFill>
                          <a:effectLst/>
                          <a:latin typeface="Calibri" panose="020F0502020204030204" pitchFamily="34" charset="0"/>
                        </a:rPr>
                        <a:t>0.986</a:t>
                      </a:r>
                    </a:p>
                  </a:txBody>
                  <a:tcPr marL="6350" marR="6350" marT="635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it-IT" sz="1600" b="1" i="0" u="none" strike="noStrike" dirty="0">
                          <a:solidFill>
                            <a:srgbClr val="680047"/>
                          </a:solidFill>
                          <a:effectLst/>
                          <a:latin typeface="Calibri" panose="020F0502020204030204" pitchFamily="34" charset="0"/>
                        </a:rPr>
                        <a:t>0.039</a:t>
                      </a:r>
                    </a:p>
                  </a:txBody>
                  <a:tcPr marL="6350" marR="6350" marT="635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71984972"/>
                  </a:ext>
                </a:extLst>
              </a:tr>
              <a:tr h="271673">
                <a:tc>
                  <a:txBody>
                    <a:bodyPr/>
                    <a:lstStyle/>
                    <a:p>
                      <a:pPr algn="l" rtl="0" fontAlgn="ctr"/>
                      <a:r>
                        <a:rPr lang="it-IT" sz="1600" b="1" i="0" u="none" strike="noStrike" dirty="0">
                          <a:solidFill>
                            <a:srgbClr val="680047"/>
                          </a:solidFill>
                          <a:effectLst/>
                          <a:latin typeface="+mn-lt"/>
                        </a:rPr>
                        <a:t>GLP1</a:t>
                      </a:r>
                    </a:p>
                  </a:txBody>
                  <a:tcPr marL="6350" marR="6350" marT="635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it-IT" sz="1600" b="1" i="0" u="none" strike="noStrike" dirty="0">
                          <a:solidFill>
                            <a:srgbClr val="680047"/>
                          </a:solidFill>
                          <a:effectLst/>
                          <a:latin typeface="Calibri" panose="020F0502020204030204" pitchFamily="34" charset="0"/>
                        </a:rPr>
                        <a:t>0.734</a:t>
                      </a:r>
                    </a:p>
                  </a:txBody>
                  <a:tcPr marL="6350" marR="6350" marT="635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it-IT" sz="1600" b="1" i="0" u="none" strike="noStrike">
                          <a:solidFill>
                            <a:srgbClr val="680047"/>
                          </a:solidFill>
                          <a:effectLst/>
                          <a:latin typeface="Calibri" panose="020F0502020204030204" pitchFamily="34" charset="0"/>
                        </a:rPr>
                        <a:t>0.567</a:t>
                      </a:r>
                    </a:p>
                  </a:txBody>
                  <a:tcPr marL="6350" marR="6350" marT="635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it-IT" sz="1600" b="1" i="0" u="none" strike="noStrike" dirty="0">
                          <a:solidFill>
                            <a:srgbClr val="680047"/>
                          </a:solidFill>
                          <a:effectLst/>
                          <a:latin typeface="Calibri" panose="020F0502020204030204" pitchFamily="34" charset="0"/>
                        </a:rPr>
                        <a:t>0.950</a:t>
                      </a:r>
                    </a:p>
                  </a:txBody>
                  <a:tcPr marL="6350" marR="6350" marT="635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it-IT" sz="1600" b="1" i="0" u="none" strike="noStrike" dirty="0">
                          <a:solidFill>
                            <a:srgbClr val="680047"/>
                          </a:solidFill>
                          <a:effectLst/>
                          <a:latin typeface="Calibri" panose="020F0502020204030204" pitchFamily="34" charset="0"/>
                        </a:rPr>
                        <a:t>0.019</a:t>
                      </a:r>
                    </a:p>
                  </a:txBody>
                  <a:tcPr marL="6350" marR="6350" marT="635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90942196"/>
                  </a:ext>
                </a:extLst>
              </a:tr>
            </a:tbl>
          </a:graphicData>
        </a:graphic>
      </p:graphicFrame>
      <p:graphicFrame>
        <p:nvGraphicFramePr>
          <p:cNvPr id="14" name="Grafico 13">
            <a:extLst>
              <a:ext uri="{FF2B5EF4-FFF2-40B4-BE49-F238E27FC236}">
                <a16:creationId xmlns:a16="http://schemas.microsoft.com/office/drawing/2014/main" id="{C9858CC3-F8CF-0A44-8939-C164170E33C7}"/>
              </a:ext>
            </a:extLst>
          </p:cNvPr>
          <p:cNvGraphicFramePr>
            <a:graphicFrameLocks/>
          </p:cNvGraphicFramePr>
          <p:nvPr>
            <p:extLst/>
          </p:nvPr>
        </p:nvGraphicFramePr>
        <p:xfrm>
          <a:off x="2709095" y="3077839"/>
          <a:ext cx="6923315" cy="352498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8209673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Grafico 6">
            <a:extLst>
              <a:ext uri="{FF2B5EF4-FFF2-40B4-BE49-F238E27FC236}">
                <a16:creationId xmlns:a16="http://schemas.microsoft.com/office/drawing/2014/main" id="{E64D5FEF-6196-0940-82DE-CF530021A090}"/>
              </a:ext>
            </a:extLst>
          </p:cNvPr>
          <p:cNvGraphicFramePr>
            <a:graphicFrameLocks/>
          </p:cNvGraphicFramePr>
          <p:nvPr>
            <p:extLst/>
          </p:nvPr>
        </p:nvGraphicFramePr>
        <p:xfrm>
          <a:off x="2553811" y="861134"/>
          <a:ext cx="7350709" cy="491822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8023974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Grafico 7">
            <a:extLst>
              <a:ext uri="{FF2B5EF4-FFF2-40B4-BE49-F238E27FC236}">
                <a16:creationId xmlns:a16="http://schemas.microsoft.com/office/drawing/2014/main" id="{037E62E3-6E50-6E44-9164-87F5B6189A22}"/>
              </a:ext>
            </a:extLst>
          </p:cNvPr>
          <p:cNvGraphicFramePr>
            <a:graphicFrameLocks/>
          </p:cNvGraphicFramePr>
          <p:nvPr>
            <p:extLst/>
          </p:nvPr>
        </p:nvGraphicFramePr>
        <p:xfrm>
          <a:off x="5198947" y="343491"/>
          <a:ext cx="4890976" cy="312597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Grafico 5">
            <a:extLst>
              <a:ext uri="{FF2B5EF4-FFF2-40B4-BE49-F238E27FC236}">
                <a16:creationId xmlns:a16="http://schemas.microsoft.com/office/drawing/2014/main" id="{928B0EA0-4290-DE4C-934A-F0E7ED41991A}"/>
              </a:ext>
            </a:extLst>
          </p:cNvPr>
          <p:cNvGraphicFramePr>
            <a:graphicFrameLocks/>
          </p:cNvGraphicFramePr>
          <p:nvPr>
            <p:extLst/>
          </p:nvPr>
        </p:nvGraphicFramePr>
        <p:xfrm>
          <a:off x="1060085" y="3469463"/>
          <a:ext cx="4890976" cy="320778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6537421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Grafico 3">
            <a:extLst>
              <a:ext uri="{FF2B5EF4-FFF2-40B4-BE49-F238E27FC236}">
                <a16:creationId xmlns:a16="http://schemas.microsoft.com/office/drawing/2014/main" id="{99C9B646-6F8A-064A-8AA1-7FDBDA80F56E}"/>
              </a:ext>
            </a:extLst>
          </p:cNvPr>
          <p:cNvGraphicFramePr>
            <a:graphicFrameLocks/>
          </p:cNvGraphicFramePr>
          <p:nvPr>
            <p:extLst/>
          </p:nvPr>
        </p:nvGraphicFramePr>
        <p:xfrm>
          <a:off x="1800225" y="649288"/>
          <a:ext cx="8591550" cy="555942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5304570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asellaDiTesto 9">
            <a:extLst>
              <a:ext uri="{FF2B5EF4-FFF2-40B4-BE49-F238E27FC236}">
                <a16:creationId xmlns:a16="http://schemas.microsoft.com/office/drawing/2014/main" id="{78726C64-56C7-4649-BEB6-4AEF9955C4AA}"/>
              </a:ext>
            </a:extLst>
          </p:cNvPr>
          <p:cNvSpPr txBox="1"/>
          <p:nvPr/>
        </p:nvSpPr>
        <p:spPr>
          <a:xfrm>
            <a:off x="3377565" y="817860"/>
            <a:ext cx="8513685" cy="4616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2400" b="0" i="0" u="none" strike="noStrike" kern="1200" cap="none" spc="0" normalizeH="0" baseline="0" noProof="0" dirty="0">
                <a:ln>
                  <a:noFill/>
                </a:ln>
                <a:solidFill>
                  <a:prstClr val="black"/>
                </a:solidFill>
                <a:effectLst/>
                <a:uLnTx/>
                <a:uFillTx/>
                <a:latin typeface="Century Gothic" panose="020B0502020202020204"/>
                <a:ea typeface="+mn-ea"/>
                <a:cs typeface="+mn-cs"/>
              </a:rPr>
              <a:t>Farmaceutica territoriale pesata (convenzionata + DPC)</a:t>
            </a:r>
          </a:p>
        </p:txBody>
      </p:sp>
      <p:graphicFrame>
        <p:nvGraphicFramePr>
          <p:cNvPr id="5" name="Grafico 4">
            <a:extLst>
              <a:ext uri="{FF2B5EF4-FFF2-40B4-BE49-F238E27FC236}">
                <a16:creationId xmlns:a16="http://schemas.microsoft.com/office/drawing/2014/main" id="{6721DF7D-E4AB-EA41-8962-C9D79E8E1316}"/>
              </a:ext>
            </a:extLst>
          </p:cNvPr>
          <p:cNvGraphicFramePr>
            <a:graphicFrameLocks/>
          </p:cNvGraphicFramePr>
          <p:nvPr>
            <p:extLst/>
          </p:nvPr>
        </p:nvGraphicFramePr>
        <p:xfrm>
          <a:off x="2260600" y="1279525"/>
          <a:ext cx="7670800" cy="4298950"/>
        </p:xfrm>
        <a:graphic>
          <a:graphicData uri="http://schemas.openxmlformats.org/drawingml/2006/chart">
            <c:chart xmlns:c="http://schemas.openxmlformats.org/drawingml/2006/chart" xmlns:r="http://schemas.openxmlformats.org/officeDocument/2006/relationships" r:id="rId2"/>
          </a:graphicData>
        </a:graphic>
      </p:graphicFrame>
      <p:sp>
        <p:nvSpPr>
          <p:cNvPr id="7" name="Rectangle 9">
            <a:extLst>
              <a:ext uri="{FF2B5EF4-FFF2-40B4-BE49-F238E27FC236}">
                <a16:creationId xmlns:a16="http://schemas.microsoft.com/office/drawing/2014/main" id="{DC099FEF-30B6-459E-BAFE-AB96078D6968}"/>
              </a:ext>
            </a:extLst>
          </p:cNvPr>
          <p:cNvSpPr/>
          <p:nvPr/>
        </p:nvSpPr>
        <p:spPr bwMode="auto">
          <a:xfrm>
            <a:off x="3022940" y="3094740"/>
            <a:ext cx="1395180" cy="2137507"/>
          </a:xfrm>
          <a:prstGeom prst="rect">
            <a:avLst/>
          </a:prstGeom>
          <a:noFill/>
          <a:ln w="28575">
            <a:solidFill>
              <a:srgbClr val="680047"/>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31" marR="0" lvl="0" indent="-135731" algn="ctr" defTabSz="457200" rtl="0" eaLnBrk="0" fontAlgn="auto" latinLnBrk="0" hangingPunct="0">
              <a:lnSpc>
                <a:spcPct val="100000"/>
              </a:lnSpc>
              <a:spcBef>
                <a:spcPts val="0"/>
              </a:spcBef>
              <a:spcAft>
                <a:spcPts val="0"/>
              </a:spcAft>
              <a:buClr>
                <a:prstClr val="white"/>
              </a:buClr>
              <a:buSzTx/>
              <a:buFont typeface="Arial" pitchFamily="34" charset="0"/>
              <a:buChar char="–"/>
              <a:tabLst/>
              <a:defRPr/>
            </a:pPr>
            <a:endParaRPr kumimoji="0" lang="it-IT" sz="900" b="1" i="0" u="none" strike="noStrike" kern="0" cap="none" spc="0" normalizeH="0" baseline="0" noProof="0" dirty="0" err="1">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0989830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842848" y="1762957"/>
            <a:ext cx="8461169" cy="1708160"/>
          </a:xfrm>
          <a:prstGeom prst="rect">
            <a:avLst/>
          </a:prstGeom>
          <a:no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it-IT" sz="1500" b="0" i="0" u="none" strike="noStrike" kern="1200" cap="none" spc="0" normalizeH="0" baseline="0" noProof="0" dirty="0">
                <a:ln>
                  <a:noFill/>
                </a:ln>
                <a:solidFill>
                  <a:prstClr val="black"/>
                </a:solidFill>
                <a:effectLst/>
                <a:uLnTx/>
                <a:uFillTx/>
                <a:latin typeface="Century Gothic" panose="020B0502020202020204"/>
                <a:ea typeface="+mn-ea"/>
                <a:cs typeface="+mn-cs"/>
              </a:rPr>
              <a:t> In conclusione dopo </a:t>
            </a:r>
            <a:r>
              <a:rPr kumimoji="0" lang="it-IT" sz="1500" b="0" i="0" u="none" strike="noStrike" kern="1200" cap="none" spc="0" normalizeH="0" baseline="0" noProof="0" dirty="0" err="1">
                <a:ln>
                  <a:noFill/>
                </a:ln>
                <a:solidFill>
                  <a:prstClr val="black"/>
                </a:solidFill>
                <a:effectLst/>
                <a:uLnTx/>
                <a:uFillTx/>
                <a:latin typeface="Century Gothic" panose="020B0502020202020204"/>
                <a:ea typeface="+mn-ea"/>
                <a:cs typeface="+mn-cs"/>
              </a:rPr>
              <a:t>metformina</a:t>
            </a:r>
            <a:r>
              <a:rPr kumimoji="0" lang="it-IT" sz="1500" b="0" i="0" u="none" strike="noStrike" kern="1200" cap="none" spc="0" normalizeH="0" baseline="0" noProof="0" dirty="0">
                <a:ln>
                  <a:noFill/>
                </a:ln>
                <a:solidFill>
                  <a:prstClr val="black"/>
                </a:solidFill>
                <a:effectLst/>
                <a:uLnTx/>
                <a:uFillTx/>
                <a:latin typeface="Century Gothic" panose="020B0502020202020204"/>
                <a:ea typeface="+mn-ea"/>
                <a:cs typeface="+mn-cs"/>
              </a:rPr>
              <a:t> utilizzando un DPP4, SGLT-2 o GLP-1 rispetto alle </a:t>
            </a:r>
            <a:r>
              <a:rPr kumimoji="0" lang="it-IT" sz="1500" b="0" i="0" u="none" strike="noStrike" kern="1200" cap="none" spc="0" normalizeH="0" baseline="0" noProof="0" dirty="0" err="1">
                <a:ln>
                  <a:noFill/>
                </a:ln>
                <a:solidFill>
                  <a:prstClr val="black"/>
                </a:solidFill>
                <a:effectLst/>
                <a:uLnTx/>
                <a:uFillTx/>
                <a:latin typeface="Century Gothic" panose="020B0502020202020204"/>
                <a:ea typeface="+mn-ea"/>
                <a:cs typeface="+mn-cs"/>
              </a:rPr>
              <a:t>sulfaniluree</a:t>
            </a:r>
            <a:r>
              <a:rPr kumimoji="0" lang="it-IT" sz="1500" b="0" i="0" u="none" strike="noStrike" kern="1200" cap="none" spc="0" normalizeH="0" baseline="0" noProof="0" dirty="0">
                <a:ln>
                  <a:noFill/>
                </a:ln>
                <a:solidFill>
                  <a:prstClr val="black"/>
                </a:solidFill>
                <a:effectLst/>
                <a:uLnTx/>
                <a:uFillTx/>
                <a:latin typeface="Century Gothic" panose="020B0502020202020204"/>
                <a:ea typeface="+mn-ea"/>
                <a:cs typeface="+mn-cs"/>
              </a:rPr>
              <a:t> si osservava: </a:t>
            </a:r>
          </a:p>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it-IT" sz="1500" b="0" i="0" u="none" strike="noStrike" kern="1200" cap="none" spc="0" normalizeH="0" baseline="0" noProof="0" dirty="0">
              <a:ln>
                <a:noFill/>
              </a:ln>
              <a:solidFill>
                <a:prstClr val="black"/>
              </a:solidFill>
              <a:effectLst/>
              <a:uLnTx/>
              <a:uFillTx/>
              <a:latin typeface="Century Gothic" panose="020B0502020202020204"/>
              <a:ea typeface="+mn-ea"/>
              <a:cs typeface="+mn-cs"/>
            </a:endParaRPr>
          </a:p>
          <a:p>
            <a:pPr marL="257175" marR="0" lvl="0" indent="-257175" algn="l" defTabSz="3429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500" b="0" i="0" u="none" strike="noStrike" kern="1200" cap="none" spc="0" normalizeH="0" baseline="0" noProof="0" dirty="0">
                <a:ln>
                  <a:noFill/>
                </a:ln>
                <a:solidFill>
                  <a:prstClr val="black"/>
                </a:solidFill>
                <a:effectLst/>
                <a:uLnTx/>
                <a:uFillTx/>
                <a:latin typeface="Century Gothic" panose="020B0502020202020204"/>
                <a:ea typeface="+mn-ea"/>
                <a:cs typeface="+mn-cs"/>
              </a:rPr>
              <a:t>riduzione spesa per ausili per la misurazione glicemia</a:t>
            </a:r>
          </a:p>
          <a:p>
            <a:pPr marL="257175" marR="0" lvl="0" indent="-257175" algn="l" defTabSz="3429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500" b="0" i="0" u="none" strike="noStrike" kern="1200" cap="none" spc="0" normalizeH="0" baseline="0" noProof="0" dirty="0">
                <a:ln>
                  <a:noFill/>
                </a:ln>
                <a:solidFill>
                  <a:prstClr val="black"/>
                </a:solidFill>
                <a:effectLst/>
                <a:uLnTx/>
                <a:uFillTx/>
                <a:latin typeface="Century Gothic" panose="020B0502020202020204"/>
                <a:ea typeface="+mn-ea"/>
                <a:cs typeface="+mn-cs"/>
              </a:rPr>
              <a:t>riduzione MACE e spesa ospedalizzazioni</a:t>
            </a:r>
          </a:p>
          <a:p>
            <a:pPr marL="257175" marR="0" lvl="0" indent="-257175" algn="l" defTabSz="3429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500" b="0" i="0" u="none" strike="noStrike" kern="1200" cap="none" spc="0" normalizeH="0" baseline="0" noProof="0" dirty="0">
                <a:ln>
                  <a:noFill/>
                </a:ln>
                <a:solidFill>
                  <a:prstClr val="black"/>
                </a:solidFill>
                <a:effectLst/>
                <a:uLnTx/>
                <a:uFillTx/>
                <a:latin typeface="Century Gothic" panose="020B0502020202020204"/>
                <a:ea typeface="+mn-ea"/>
                <a:cs typeface="+mn-cs"/>
              </a:rPr>
              <a:t>raggiungimento </a:t>
            </a:r>
            <a:r>
              <a:rPr kumimoji="0" lang="it-IT" sz="1500" b="0" i="0" u="none" strike="noStrike" kern="1200" cap="none" spc="0" normalizeH="0" baseline="0" noProof="0" dirty="0" err="1">
                <a:ln>
                  <a:noFill/>
                </a:ln>
                <a:solidFill>
                  <a:prstClr val="black"/>
                </a:solidFill>
                <a:effectLst/>
                <a:uLnTx/>
                <a:uFillTx/>
                <a:latin typeface="Century Gothic" panose="020B0502020202020204"/>
                <a:ea typeface="+mn-ea"/>
                <a:cs typeface="+mn-cs"/>
              </a:rPr>
              <a:t>outcomes</a:t>
            </a:r>
            <a:r>
              <a:rPr kumimoji="0" lang="it-IT" sz="1500" b="0" i="0" u="none" strike="noStrike" kern="1200" cap="none" spc="0" normalizeH="0" baseline="0" noProof="0" dirty="0">
                <a:ln>
                  <a:noFill/>
                </a:ln>
                <a:solidFill>
                  <a:prstClr val="black"/>
                </a:solidFill>
                <a:effectLst/>
                <a:uLnTx/>
                <a:uFillTx/>
                <a:latin typeface="Century Gothic" panose="020B0502020202020204"/>
                <a:ea typeface="+mn-ea"/>
                <a:cs typeface="+mn-cs"/>
              </a:rPr>
              <a:t> clinici attesi</a:t>
            </a:r>
          </a:p>
          <a:p>
            <a:pPr marL="257175" marR="0" lvl="0" indent="-257175" algn="l" defTabSz="3429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it-IT" sz="1500" b="0" i="0" u="none" strike="noStrike" kern="1200" cap="none" spc="0" normalizeH="0" baseline="0" noProof="0" dirty="0">
              <a:ln>
                <a:noFill/>
              </a:ln>
              <a:solidFill>
                <a:prstClr val="black"/>
              </a:solidFill>
              <a:effectLst/>
              <a:uLnTx/>
              <a:uFillTx/>
              <a:latin typeface="Century Gothic" panose="020B0502020202020204"/>
              <a:ea typeface="+mn-ea"/>
              <a:cs typeface="+mn-cs"/>
            </a:endParaRPr>
          </a:p>
        </p:txBody>
      </p:sp>
      <p:sp>
        <p:nvSpPr>
          <p:cNvPr id="4" name="CasellaDiTesto 3">
            <a:extLst>
              <a:ext uri="{FF2B5EF4-FFF2-40B4-BE49-F238E27FC236}">
                <a16:creationId xmlns:a16="http://schemas.microsoft.com/office/drawing/2014/main" id="{DBF5D3B7-A9C3-604A-90E5-212F76FB0912}"/>
              </a:ext>
            </a:extLst>
          </p:cNvPr>
          <p:cNvSpPr txBox="1"/>
          <p:nvPr/>
        </p:nvSpPr>
        <p:spPr>
          <a:xfrm>
            <a:off x="4596652" y="643599"/>
            <a:ext cx="5881607" cy="1061829"/>
          </a:xfrm>
          <a:prstGeom prst="rect">
            <a:avLst/>
          </a:prstGeom>
          <a:noFill/>
        </p:spPr>
        <p:txBody>
          <a:bodyPr wrap="square" rtlCol="0">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it-IT" sz="2100" b="0" i="0" u="none" strike="noStrike" kern="1200" cap="none" spc="0" normalizeH="0" baseline="0" noProof="0" dirty="0">
                <a:ln>
                  <a:noFill/>
                </a:ln>
                <a:solidFill>
                  <a:prstClr val="black"/>
                </a:solidFill>
                <a:effectLst/>
                <a:uLnTx/>
                <a:uFillTx/>
                <a:latin typeface="Century Gothic" panose="020B0502020202020204"/>
                <a:ea typeface="+mn-ea"/>
                <a:cs typeface="+mn-cs"/>
              </a:rPr>
              <a:t>Le evidenze generate hanno permesso di orientare le scelte di governo verso interventi che massimizzino l’appropriatezza</a:t>
            </a:r>
          </a:p>
        </p:txBody>
      </p:sp>
      <p:pic>
        <p:nvPicPr>
          <p:cNvPr id="2050" name="Picture 2" descr="Break Down Manufacturing Data Silos To Increase Efficiency"/>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438918" y="4634144"/>
            <a:ext cx="4039340" cy="1950664"/>
          </a:xfrm>
          <a:prstGeom prst="rect">
            <a:avLst/>
          </a:prstGeom>
          <a:noFill/>
          <a:extLst>
            <a:ext uri="{909E8E84-426E-40DD-AFC4-6F175D3DCCD1}">
              <a14:hiddenFill xmlns:a14="http://schemas.microsoft.com/office/drawing/2010/main">
                <a:solidFill>
                  <a:srgbClr val="FFFFFF"/>
                </a:solidFill>
              </a14:hiddenFill>
            </a:ext>
          </a:extLst>
        </p:spPr>
      </p:pic>
      <p:sp>
        <p:nvSpPr>
          <p:cNvPr id="5" name="Rettangolo 4"/>
          <p:cNvSpPr/>
          <p:nvPr/>
        </p:nvSpPr>
        <p:spPr>
          <a:xfrm>
            <a:off x="1842848" y="3684168"/>
            <a:ext cx="8635411" cy="1950534"/>
          </a:xfrm>
          <a:prstGeom prst="rect">
            <a:avLst/>
          </a:prstGeom>
        </p:spPr>
        <p:txBody>
          <a:bodyPr wrap="square">
            <a:spAutoFit/>
          </a:bodyPr>
          <a:lstStyle/>
          <a:p>
            <a:pPr marL="0" marR="0" lvl="0" indent="0" algn="just" defTabSz="457200" rtl="0" eaLnBrk="1" fontAlgn="auto" latinLnBrk="0" hangingPunct="1">
              <a:lnSpc>
                <a:spcPct val="115000"/>
              </a:lnSpc>
              <a:spcBef>
                <a:spcPts val="0"/>
              </a:spcBef>
              <a:spcAft>
                <a:spcPts val="0"/>
              </a:spcAft>
              <a:buClrTx/>
              <a:buSzTx/>
              <a:buFontTx/>
              <a:buNone/>
              <a:tabLst/>
              <a:defRPr/>
            </a:pPr>
            <a:r>
              <a:rPr kumimoji="0" lang="it-IT" sz="1500" b="0" i="0" u="none" strike="noStrike" kern="1200" cap="none" spc="0" normalizeH="0" baseline="0" noProof="0" dirty="0">
                <a:ln>
                  <a:noFill/>
                </a:ln>
                <a:solidFill>
                  <a:prstClr val="black"/>
                </a:solidFill>
                <a:effectLst/>
                <a:uLnTx/>
                <a:uFillTx/>
                <a:latin typeface="Century Gothic" panose="020B0502020202020204"/>
                <a:ea typeface="+mn-ea"/>
                <a:cs typeface="+mn-cs"/>
              </a:rPr>
              <a:t>Le evidenze «preliminari» dimostrano quanto sia prioritario che le strategie assistenziali, così come gli obiettivi di programmazione sanitaria e di controllo della spesa, tengano conto dei dati nella normale pratica clinica “</a:t>
            </a:r>
            <a:r>
              <a:rPr kumimoji="0" lang="it-IT" sz="1500" b="0" i="0" u="none" strike="noStrike" kern="1200" cap="none" spc="0" normalizeH="0" baseline="0" noProof="0" dirty="0" err="1">
                <a:ln>
                  <a:noFill/>
                </a:ln>
                <a:solidFill>
                  <a:prstClr val="black"/>
                </a:solidFill>
                <a:effectLst/>
                <a:uLnTx/>
                <a:uFillTx/>
                <a:latin typeface="Century Gothic" panose="020B0502020202020204"/>
                <a:ea typeface="+mn-ea"/>
                <a:cs typeface="+mn-cs"/>
              </a:rPr>
              <a:t>real</a:t>
            </a:r>
            <a:r>
              <a:rPr kumimoji="0" lang="it-IT" sz="1500" b="0" i="0" u="none" strike="noStrike" kern="1200" cap="none" spc="0" normalizeH="0" baseline="0" noProof="0" dirty="0">
                <a:ln>
                  <a:noFill/>
                </a:ln>
                <a:solidFill>
                  <a:prstClr val="black"/>
                </a:solidFill>
                <a:effectLst/>
                <a:uLnTx/>
                <a:uFillTx/>
                <a:latin typeface="Century Gothic" panose="020B0502020202020204"/>
                <a:ea typeface="+mn-ea"/>
                <a:cs typeface="+mn-cs"/>
              </a:rPr>
              <a:t> world” come strumento chiave a supporto dei decisori del Sistema Sanitario, al fine di:</a:t>
            </a:r>
          </a:p>
          <a:p>
            <a:pPr marL="0" marR="0" lvl="0" indent="0" algn="just" defTabSz="457200" rtl="0" eaLnBrk="1" fontAlgn="auto" latinLnBrk="0" hangingPunct="1">
              <a:lnSpc>
                <a:spcPct val="115000"/>
              </a:lnSpc>
              <a:spcBef>
                <a:spcPts val="0"/>
              </a:spcBef>
              <a:spcAft>
                <a:spcPts val="0"/>
              </a:spcAft>
              <a:buClrTx/>
              <a:buSzTx/>
              <a:buFontTx/>
              <a:buNone/>
              <a:tabLst/>
              <a:defRPr/>
            </a:pPr>
            <a:endParaRPr kumimoji="0" lang="it-IT" sz="1500" b="0" i="0" u="none" strike="noStrike" kern="1200" cap="none" spc="0" normalizeH="0" baseline="0" noProof="0" dirty="0">
              <a:ln>
                <a:noFill/>
              </a:ln>
              <a:solidFill>
                <a:prstClr val="black"/>
              </a:solidFill>
              <a:effectLst/>
              <a:uLnTx/>
              <a:uFillTx/>
              <a:latin typeface="Century Gothic" panose="020B0502020202020204"/>
              <a:ea typeface="+mn-ea"/>
              <a:cs typeface="+mn-cs"/>
            </a:endParaRPr>
          </a:p>
          <a:p>
            <a:pPr marL="342900" marR="0" lvl="0" indent="-342900" algn="just" defTabSz="457200" rtl="0" eaLnBrk="1" fontAlgn="auto" latinLnBrk="0" hangingPunct="1">
              <a:lnSpc>
                <a:spcPct val="115000"/>
              </a:lnSpc>
              <a:spcBef>
                <a:spcPts val="0"/>
              </a:spcBef>
              <a:spcAft>
                <a:spcPts val="0"/>
              </a:spcAft>
              <a:buClrTx/>
              <a:buSzTx/>
              <a:buFont typeface="Arial" panose="020B0604020202020204" pitchFamily="34" charset="0"/>
              <a:buChar char="•"/>
              <a:tabLst/>
              <a:defRPr/>
            </a:pPr>
            <a:r>
              <a:rPr kumimoji="0" lang="it-IT" sz="1500" b="0" i="0" u="none" strike="noStrike" kern="1200" cap="none" spc="0" normalizeH="0" baseline="0" noProof="0" dirty="0">
                <a:ln>
                  <a:noFill/>
                </a:ln>
                <a:solidFill>
                  <a:prstClr val="black"/>
                </a:solidFill>
                <a:effectLst/>
                <a:uLnTx/>
                <a:uFillTx/>
                <a:latin typeface="Century Gothic" panose="020B0502020202020204"/>
                <a:ea typeface="+mn-ea"/>
                <a:cs typeface="+mn-cs"/>
              </a:rPr>
              <a:t>Massimizzare l’appropriatezza nel </a:t>
            </a:r>
          </a:p>
          <a:p>
            <a:pPr marL="0" marR="0" lvl="0" indent="0" algn="just" defTabSz="457200" rtl="0" eaLnBrk="1" fontAlgn="auto" latinLnBrk="0" hangingPunct="1">
              <a:lnSpc>
                <a:spcPct val="115000"/>
              </a:lnSpc>
              <a:spcBef>
                <a:spcPts val="0"/>
              </a:spcBef>
              <a:spcAft>
                <a:spcPts val="0"/>
              </a:spcAft>
              <a:buClrTx/>
              <a:buSzTx/>
              <a:buFontTx/>
              <a:buNone/>
              <a:tabLst/>
              <a:defRPr/>
            </a:pPr>
            <a:r>
              <a:rPr kumimoji="0" lang="it-IT" sz="1500" b="0" i="0" u="none" strike="noStrike" kern="1200" cap="none" spc="0" normalizeH="0" baseline="0" noProof="0" dirty="0">
                <a:ln>
                  <a:noFill/>
                </a:ln>
                <a:solidFill>
                  <a:prstClr val="black"/>
                </a:solidFill>
                <a:effectLst/>
                <a:uLnTx/>
                <a:uFillTx/>
                <a:latin typeface="Century Gothic" panose="020B0502020202020204"/>
                <a:ea typeface="+mn-ea"/>
                <a:cs typeface="+mn-cs"/>
              </a:rPr>
              <a:t>       rispetto della sostenibilità economica.</a:t>
            </a:r>
          </a:p>
        </p:txBody>
      </p:sp>
    </p:spTree>
    <p:extLst>
      <p:ext uri="{BB962C8B-B14F-4D97-AF65-F5344CB8AC3E}">
        <p14:creationId xmlns:p14="http://schemas.microsoft.com/office/powerpoint/2010/main" val="58960524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2895600" y="0"/>
            <a:ext cx="8610600" cy="1293028"/>
          </a:xfrm>
        </p:spPr>
        <p:txBody>
          <a:bodyPr>
            <a:normAutofit/>
          </a:bodyPr>
          <a:lstStyle/>
          <a:p>
            <a:r>
              <a:rPr lang="it-IT" sz="3200" dirty="0" smtClean="0"/>
              <a:t>Di cosa parleremo</a:t>
            </a:r>
            <a:endParaRPr lang="it-IT" sz="3200" dirty="0"/>
          </a:p>
        </p:txBody>
      </p:sp>
      <p:sp>
        <p:nvSpPr>
          <p:cNvPr id="3" name="Segnaposto contenuto 2"/>
          <p:cNvSpPr>
            <a:spLocks noGrp="1"/>
          </p:cNvSpPr>
          <p:nvPr>
            <p:ph idx="1"/>
          </p:nvPr>
        </p:nvSpPr>
        <p:spPr>
          <a:xfrm>
            <a:off x="685800" y="1414915"/>
            <a:ext cx="11259152" cy="4091502"/>
          </a:xfrm>
        </p:spPr>
        <p:txBody>
          <a:bodyPr>
            <a:normAutofit fontScale="25000" lnSpcReduction="20000"/>
          </a:bodyPr>
          <a:lstStyle/>
          <a:p>
            <a:r>
              <a:rPr lang="it-IT" sz="7200" dirty="0"/>
              <a:t>L’AIFA e il processo di valutazione dei </a:t>
            </a:r>
            <a:r>
              <a:rPr lang="it-IT" sz="7200" dirty="0" smtClean="0"/>
              <a:t>farmaci</a:t>
            </a:r>
            <a:r>
              <a:rPr lang="it-IT" sz="7200" dirty="0"/>
              <a:t>.</a:t>
            </a:r>
            <a:r>
              <a:rPr lang="it-IT" sz="7200" dirty="0" smtClean="0"/>
              <a:t> L’</a:t>
            </a:r>
            <a:r>
              <a:rPr lang="it-IT" sz="7200" dirty="0" err="1" smtClean="0"/>
              <a:t>Health</a:t>
            </a:r>
            <a:r>
              <a:rPr lang="it-IT" sz="7200" dirty="0" smtClean="0"/>
              <a:t> </a:t>
            </a:r>
            <a:r>
              <a:rPr lang="it-IT" sz="7200" dirty="0"/>
              <a:t>Technology </a:t>
            </a:r>
            <a:r>
              <a:rPr lang="it-IT" sz="7200" dirty="0" err="1"/>
              <a:t>Assessment</a:t>
            </a:r>
            <a:r>
              <a:rPr lang="it-IT" sz="7200" dirty="0"/>
              <a:t> e la sua integrazione nel processo </a:t>
            </a:r>
            <a:r>
              <a:rPr lang="it-IT" sz="7200" dirty="0" err="1"/>
              <a:t>regolatorio</a:t>
            </a:r>
            <a:r>
              <a:rPr lang="it-IT" sz="7200" dirty="0" smtClean="0"/>
              <a:t>.</a:t>
            </a:r>
            <a:endParaRPr lang="it-IT" sz="7200" dirty="0"/>
          </a:p>
          <a:p>
            <a:r>
              <a:rPr lang="it-IT" sz="7200" b="1" dirty="0"/>
              <a:t>Studi osservazionali e sperimentali</a:t>
            </a:r>
            <a:r>
              <a:rPr lang="it-IT" sz="7200" dirty="0"/>
              <a:t>: nozioni di base per leggere uno studio clinico. </a:t>
            </a:r>
            <a:r>
              <a:rPr lang="it-IT" sz="7200" dirty="0" smtClean="0"/>
              <a:t>Piramide </a:t>
            </a:r>
            <a:r>
              <a:rPr lang="it-IT" sz="7200" dirty="0"/>
              <a:t>delle </a:t>
            </a:r>
            <a:r>
              <a:rPr lang="it-IT" sz="7200" dirty="0" smtClean="0"/>
              <a:t>evidenze.</a:t>
            </a:r>
            <a:r>
              <a:rPr lang="it-IT" sz="7200" dirty="0"/>
              <a:t> </a:t>
            </a:r>
            <a:r>
              <a:rPr lang="it-IT" sz="7200" dirty="0" smtClean="0"/>
              <a:t>La valutazione di efficacia dei farmaci: significato di </a:t>
            </a:r>
            <a:r>
              <a:rPr lang="it-IT" sz="7200" dirty="0" err="1" smtClean="0"/>
              <a:t>efficacy</a:t>
            </a:r>
            <a:r>
              <a:rPr lang="it-IT" sz="7200" dirty="0" smtClean="0"/>
              <a:t> e di </a:t>
            </a:r>
            <a:r>
              <a:rPr lang="it-IT" sz="7200" dirty="0" err="1" smtClean="0"/>
              <a:t>effectiveness</a:t>
            </a:r>
            <a:r>
              <a:rPr lang="it-IT" sz="7200" dirty="0" smtClean="0"/>
              <a:t>. Esempi di valutazione di studi sui farmaci e ruolo farmacista ospedaliero. </a:t>
            </a:r>
          </a:p>
          <a:p>
            <a:endParaRPr lang="it-IT" sz="7200" dirty="0" smtClean="0"/>
          </a:p>
          <a:p>
            <a:r>
              <a:rPr lang="it-IT" sz="7200" dirty="0" smtClean="0">
                <a:solidFill>
                  <a:srgbClr val="0070C0"/>
                </a:solidFill>
              </a:rPr>
              <a:t>Gli </a:t>
            </a:r>
            <a:r>
              <a:rPr lang="it-IT" sz="7200" dirty="0">
                <a:solidFill>
                  <a:srgbClr val="0070C0"/>
                </a:solidFill>
              </a:rPr>
              <a:t>studi </a:t>
            </a:r>
            <a:r>
              <a:rPr lang="it-IT" sz="7200" dirty="0" err="1" smtClean="0">
                <a:solidFill>
                  <a:srgbClr val="0070C0"/>
                </a:solidFill>
              </a:rPr>
              <a:t>farmacoepidemiologici</a:t>
            </a:r>
            <a:r>
              <a:rPr lang="it-IT" sz="7200" dirty="0" smtClean="0">
                <a:solidFill>
                  <a:srgbClr val="0070C0"/>
                </a:solidFill>
              </a:rPr>
              <a:t>. Appropriatezza </a:t>
            </a:r>
            <a:r>
              <a:rPr lang="it-IT" sz="7200" dirty="0">
                <a:solidFill>
                  <a:srgbClr val="0070C0"/>
                </a:solidFill>
              </a:rPr>
              <a:t>terapeutica e impatto </a:t>
            </a:r>
            <a:r>
              <a:rPr lang="it-IT" sz="7200" dirty="0" smtClean="0">
                <a:solidFill>
                  <a:srgbClr val="0070C0"/>
                </a:solidFill>
              </a:rPr>
              <a:t>economico. Aderenza </a:t>
            </a:r>
            <a:r>
              <a:rPr lang="it-IT" sz="7200" dirty="0">
                <a:solidFill>
                  <a:srgbClr val="0070C0"/>
                </a:solidFill>
              </a:rPr>
              <a:t>al trattamento e ruolo del farmacista. </a:t>
            </a:r>
            <a:endParaRPr lang="it-IT" sz="7200" dirty="0" smtClean="0">
              <a:solidFill>
                <a:srgbClr val="0070C0"/>
              </a:solidFill>
            </a:endParaRPr>
          </a:p>
          <a:p>
            <a:endParaRPr lang="it-IT" sz="7200" dirty="0"/>
          </a:p>
          <a:p>
            <a:r>
              <a:rPr lang="it-IT" sz="7200" dirty="0"/>
              <a:t>La </a:t>
            </a:r>
            <a:r>
              <a:rPr lang="it-IT" sz="7200" b="1" dirty="0"/>
              <a:t>farmacovigilanza</a:t>
            </a:r>
            <a:r>
              <a:rPr lang="it-IT" sz="7200" dirty="0"/>
              <a:t>. </a:t>
            </a:r>
            <a:r>
              <a:rPr lang="it-IT" sz="7200" dirty="0" smtClean="0"/>
              <a:t>La </a:t>
            </a:r>
            <a:r>
              <a:rPr lang="it-IT" sz="7200" dirty="0" err="1"/>
              <a:t>politerapia</a:t>
            </a:r>
            <a:r>
              <a:rPr lang="it-IT" sz="7200" dirty="0"/>
              <a:t> nelle patologie croniche, le interazioni farmacologiche e le ADR.  </a:t>
            </a:r>
            <a:endParaRPr lang="it-IT" sz="7200" dirty="0" smtClean="0"/>
          </a:p>
          <a:p>
            <a:pPr marL="0" indent="0">
              <a:buNone/>
            </a:pPr>
            <a:endParaRPr lang="it-IT" sz="7200" dirty="0"/>
          </a:p>
          <a:p>
            <a:r>
              <a:rPr lang="it-IT" sz="7200" dirty="0"/>
              <a:t>Principi di </a:t>
            </a:r>
            <a:r>
              <a:rPr lang="it-IT" sz="7200" b="1" dirty="0" err="1" smtClean="0"/>
              <a:t>farmacoeconomia</a:t>
            </a:r>
            <a:r>
              <a:rPr lang="it-IT" sz="7200" dirty="0" smtClean="0"/>
              <a:t>. Analisi </a:t>
            </a:r>
            <a:r>
              <a:rPr lang="it-IT" sz="7200" dirty="0"/>
              <a:t>dei costi e degli esiti di una terapia farmacologica.</a:t>
            </a:r>
          </a:p>
          <a:p>
            <a:pPr marL="0" indent="0">
              <a:buNone/>
            </a:pPr>
            <a:r>
              <a:rPr lang="it-IT" sz="7200" dirty="0" smtClean="0"/>
              <a:t>    Il </a:t>
            </a:r>
            <a:r>
              <a:rPr lang="it-IT" sz="7200" dirty="0"/>
              <a:t>rapporto di costo - efficacia di un trattamento </a:t>
            </a:r>
            <a:r>
              <a:rPr lang="it-IT" sz="7200" dirty="0" smtClean="0"/>
              <a:t>farmacologico. </a:t>
            </a:r>
          </a:p>
          <a:p>
            <a:pPr marL="0" indent="0">
              <a:buNone/>
            </a:pPr>
            <a:endParaRPr lang="it-IT" sz="7200" b="1" dirty="0"/>
          </a:p>
          <a:p>
            <a:pPr marL="0" indent="0">
              <a:buNone/>
            </a:pPr>
            <a:r>
              <a:rPr lang="it-IT" sz="7200" b="1" dirty="0" err="1" smtClean="0"/>
              <a:t>Farmacoepidemiologia</a:t>
            </a:r>
            <a:r>
              <a:rPr lang="it-IT" sz="7200" b="1" dirty="0" smtClean="0"/>
              <a:t> </a:t>
            </a:r>
            <a:r>
              <a:rPr lang="it-IT" sz="7200" b="1" dirty="0"/>
              <a:t>e </a:t>
            </a:r>
            <a:r>
              <a:rPr lang="it-IT" sz="7200" b="1" dirty="0" err="1"/>
              <a:t>farmacoutilizzazione</a:t>
            </a:r>
            <a:r>
              <a:rPr lang="it-IT" sz="7200" dirty="0"/>
              <a:t>. </a:t>
            </a:r>
            <a:r>
              <a:rPr lang="it-IT" sz="7200" dirty="0" smtClean="0"/>
              <a:t>Come </a:t>
            </a:r>
            <a:r>
              <a:rPr lang="it-IT" sz="7200" dirty="0"/>
              <a:t>leggere e interpretare i dati di prescrizione.</a:t>
            </a:r>
          </a:p>
          <a:p>
            <a:r>
              <a:rPr lang="it-IT" sz="7200" dirty="0"/>
              <a:t>Le DDD. Spesa e consumi. </a:t>
            </a:r>
            <a:r>
              <a:rPr lang="it-IT" sz="7200" dirty="0" smtClean="0"/>
              <a:t>Rapporto </a:t>
            </a:r>
            <a:r>
              <a:rPr lang="it-IT" sz="7200" dirty="0"/>
              <a:t>Nazionale sull’uso dei farmaci in Italia.  </a:t>
            </a:r>
          </a:p>
          <a:p>
            <a:endParaRPr lang="it-IT" dirty="0" smtClean="0"/>
          </a:p>
          <a:p>
            <a:endParaRPr lang="it-IT" dirty="0" smtClean="0"/>
          </a:p>
          <a:p>
            <a:endParaRPr lang="it-IT" dirty="0"/>
          </a:p>
        </p:txBody>
      </p:sp>
      <p:sp>
        <p:nvSpPr>
          <p:cNvPr id="4" name="Freccia destra 5">
            <a:extLst>
              <a:ext uri="{FF2B5EF4-FFF2-40B4-BE49-F238E27FC236}">
                <a16:creationId xmlns:a16="http://schemas.microsoft.com/office/drawing/2014/main" id="{10C05BA8-B1D4-A143-99E1-034AB95A91C9}"/>
              </a:ext>
            </a:extLst>
          </p:cNvPr>
          <p:cNvSpPr/>
          <p:nvPr/>
        </p:nvSpPr>
        <p:spPr>
          <a:xfrm>
            <a:off x="212023" y="2936471"/>
            <a:ext cx="473777" cy="254000"/>
          </a:xfrm>
          <a:prstGeom prst="rightArrow">
            <a:avLst>
              <a:gd name="adj1" fmla="val 42421"/>
              <a:gd name="adj2" fmla="val 50000"/>
            </a:avLst>
          </a:prstGeom>
          <a:solidFill>
            <a:srgbClr val="0096FF"/>
          </a:solidFill>
          <a:ln>
            <a:solidFill>
              <a:srgbClr val="009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850152150"/>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Brescia, arrivano 8 nuovi semafori per i non vedenti - QuiBrescia"/>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827147" y="4767310"/>
            <a:ext cx="2476869" cy="2023567"/>
          </a:xfrm>
          <a:prstGeom prst="rect">
            <a:avLst/>
          </a:prstGeom>
          <a:noFill/>
          <a:extLst>
            <a:ext uri="{909E8E84-426E-40DD-AFC4-6F175D3DCCD1}">
              <a14:hiddenFill xmlns:a14="http://schemas.microsoft.com/office/drawing/2010/main">
                <a:solidFill>
                  <a:srgbClr val="FFFFFF"/>
                </a:solidFill>
              </a14:hiddenFill>
            </a:ext>
          </a:extLst>
        </p:spPr>
      </p:pic>
      <p:sp>
        <p:nvSpPr>
          <p:cNvPr id="2" name="Rettangolo 1"/>
          <p:cNvSpPr/>
          <p:nvPr/>
        </p:nvSpPr>
        <p:spPr>
          <a:xfrm>
            <a:off x="2109927" y="1449622"/>
            <a:ext cx="8194089" cy="3525324"/>
          </a:xfrm>
          <a:prstGeom prst="rect">
            <a:avLst/>
          </a:prstGeom>
        </p:spPr>
        <p:txBody>
          <a:bodyPr wrap="square">
            <a:spAutoFit/>
          </a:bodyPr>
          <a:lstStyle/>
          <a:p>
            <a:pPr marL="342900" marR="0" lvl="0" indent="-342900" algn="just" defTabSz="457200" rtl="0" eaLnBrk="1" fontAlgn="auto" latinLnBrk="0" hangingPunct="1">
              <a:lnSpc>
                <a:spcPct val="115000"/>
              </a:lnSpc>
              <a:spcBef>
                <a:spcPts val="0"/>
              </a:spcBef>
              <a:spcAft>
                <a:spcPts val="1000"/>
              </a:spcAft>
              <a:buClrTx/>
              <a:buSzTx/>
              <a:buFont typeface="Wingdings" panose="05000000000000000000" pitchFamily="2" charset="2"/>
              <a:buChar char=""/>
              <a:tabLst>
                <a:tab pos="457200" algn="l"/>
              </a:tabLst>
              <a:defRPr/>
            </a:pPr>
            <a:r>
              <a:rPr kumimoji="0" lang="it-IT" sz="1500" b="0" i="0" u="none" strike="noStrike" kern="1200" cap="none" spc="0" normalizeH="0" baseline="0" noProof="0" dirty="0">
                <a:ln>
                  <a:noFill/>
                </a:ln>
                <a:solidFill>
                  <a:prstClr val="black"/>
                </a:solidFill>
                <a:effectLst/>
                <a:uLnTx/>
                <a:uFillTx/>
                <a:latin typeface="Century Gothic" panose="020B0502020202020204"/>
                <a:ea typeface="+mn-ea"/>
                <a:cs typeface="+mn-cs"/>
              </a:rPr>
              <a:t>Esperienza positiva di valutazione delle nuove terapie ipoglicemizzanti che può essere estesa ad altri ambiti terapeutici</a:t>
            </a:r>
          </a:p>
          <a:p>
            <a:pPr marL="342900" marR="0" lvl="0" indent="-342900" algn="just" defTabSz="457200" rtl="0" eaLnBrk="1" fontAlgn="auto" latinLnBrk="0" hangingPunct="1">
              <a:lnSpc>
                <a:spcPct val="115000"/>
              </a:lnSpc>
              <a:spcBef>
                <a:spcPts val="0"/>
              </a:spcBef>
              <a:spcAft>
                <a:spcPts val="1000"/>
              </a:spcAft>
              <a:buClrTx/>
              <a:buSzTx/>
              <a:buFont typeface="Wingdings" panose="05000000000000000000" pitchFamily="2" charset="2"/>
              <a:buChar char=""/>
              <a:tabLst>
                <a:tab pos="457200" algn="l"/>
              </a:tabLst>
              <a:defRPr/>
            </a:pPr>
            <a:r>
              <a:rPr kumimoji="0" lang="it-IT" sz="1500" b="0" i="0" u="none" strike="noStrike" kern="1200" cap="none" spc="0" normalizeH="0" baseline="0" noProof="0" dirty="0">
                <a:ln>
                  <a:noFill/>
                </a:ln>
                <a:solidFill>
                  <a:prstClr val="black"/>
                </a:solidFill>
                <a:effectLst/>
                <a:uLnTx/>
                <a:uFillTx/>
                <a:latin typeface="Century Gothic" panose="020B0502020202020204"/>
                <a:ea typeface="+mn-ea"/>
                <a:cs typeface="+mn-cs"/>
              </a:rPr>
              <a:t>Proficua collaborazione fra Servizio Farmaceutico e Diabetologie </a:t>
            </a:r>
          </a:p>
          <a:p>
            <a:pPr marL="342900" marR="0" lvl="0" indent="-342900" algn="just" defTabSz="457200" rtl="0" eaLnBrk="1" fontAlgn="auto" latinLnBrk="0" hangingPunct="1">
              <a:lnSpc>
                <a:spcPct val="115000"/>
              </a:lnSpc>
              <a:spcBef>
                <a:spcPts val="0"/>
              </a:spcBef>
              <a:spcAft>
                <a:spcPts val="1000"/>
              </a:spcAft>
              <a:buClrTx/>
              <a:buSzTx/>
              <a:buFont typeface="Wingdings" panose="05000000000000000000" pitchFamily="2" charset="2"/>
              <a:buChar char=""/>
              <a:tabLst>
                <a:tab pos="457200" algn="l"/>
              </a:tabLst>
              <a:defRPr/>
            </a:pPr>
            <a:r>
              <a:rPr kumimoji="0" lang="it-IT" sz="1500" b="0" i="0" u="none" strike="noStrike" kern="1200" cap="none" spc="0" normalizeH="0" baseline="0" noProof="0" dirty="0">
                <a:ln>
                  <a:noFill/>
                </a:ln>
                <a:solidFill>
                  <a:prstClr val="black"/>
                </a:solidFill>
                <a:effectLst/>
                <a:uLnTx/>
                <a:uFillTx/>
                <a:latin typeface="Century Gothic" panose="020B0502020202020204"/>
                <a:ea typeface="+mn-ea"/>
                <a:cs typeface="+mn-cs"/>
              </a:rPr>
              <a:t>Esperienza che potrebbe essere amplificata su un campione </a:t>
            </a:r>
            <a:r>
              <a:rPr kumimoji="0" lang="it-IT" sz="1500" b="0" i="0" u="none" strike="noStrike" kern="1200" cap="none" spc="0" normalizeH="0" baseline="0" noProof="0">
                <a:ln>
                  <a:noFill/>
                </a:ln>
                <a:solidFill>
                  <a:prstClr val="black"/>
                </a:solidFill>
                <a:effectLst/>
                <a:uLnTx/>
                <a:uFillTx/>
                <a:latin typeface="Century Gothic" panose="020B0502020202020204"/>
                <a:ea typeface="+mn-ea"/>
                <a:cs typeface="+mn-cs"/>
              </a:rPr>
              <a:t>più vasto </a:t>
            </a:r>
            <a:r>
              <a:rPr kumimoji="0" lang="it-IT" sz="1500" b="0" i="0" u="none" strike="noStrike" kern="1200" cap="none" spc="0" normalizeH="0" baseline="0" noProof="0" dirty="0">
                <a:ln>
                  <a:noFill/>
                </a:ln>
                <a:solidFill>
                  <a:prstClr val="black"/>
                </a:solidFill>
                <a:effectLst/>
                <a:uLnTx/>
                <a:uFillTx/>
                <a:latin typeface="Century Gothic" panose="020B0502020202020204"/>
                <a:ea typeface="+mn-ea"/>
                <a:cs typeface="+mn-cs"/>
              </a:rPr>
              <a:t>(maggiore potenza statistica) e indagando ulteriori tematiche (aderenza alla terapia, effetto dei nuovi farmaci insulina-</a:t>
            </a:r>
            <a:r>
              <a:rPr kumimoji="0" lang="it-IT" sz="1500" b="0" i="0" u="none" strike="noStrike" kern="1200" cap="none" spc="0" normalizeH="0" baseline="0" noProof="0" dirty="0" err="1">
                <a:ln>
                  <a:noFill/>
                </a:ln>
                <a:solidFill>
                  <a:prstClr val="black"/>
                </a:solidFill>
                <a:effectLst/>
                <a:uLnTx/>
                <a:uFillTx/>
                <a:latin typeface="Century Gothic" panose="020B0502020202020204"/>
                <a:ea typeface="+mn-ea"/>
                <a:cs typeface="+mn-cs"/>
              </a:rPr>
              <a:t>sparing</a:t>
            </a:r>
            <a:r>
              <a:rPr kumimoji="0" lang="it-IT" sz="1500" b="0" i="0" u="none" strike="noStrike" kern="1200" cap="none" spc="0" normalizeH="0" baseline="0" noProof="0" dirty="0">
                <a:ln>
                  <a:noFill/>
                </a:ln>
                <a:solidFill>
                  <a:prstClr val="black"/>
                </a:solidFill>
                <a:effectLst/>
                <a:uLnTx/>
                <a:uFillTx/>
                <a:latin typeface="Century Gothic" panose="020B0502020202020204"/>
                <a:ea typeface="+mn-ea"/>
                <a:cs typeface="+mn-cs"/>
              </a:rPr>
              <a:t> che potrebbe generare notevoli risparmi economici e di gestione della patologia). </a:t>
            </a:r>
          </a:p>
          <a:p>
            <a:pPr marL="342900" marR="0" lvl="0" indent="-342900" algn="just" defTabSz="457200" rtl="0" eaLnBrk="1" fontAlgn="auto" latinLnBrk="0" hangingPunct="1">
              <a:lnSpc>
                <a:spcPct val="115000"/>
              </a:lnSpc>
              <a:spcBef>
                <a:spcPts val="0"/>
              </a:spcBef>
              <a:spcAft>
                <a:spcPts val="1000"/>
              </a:spcAft>
              <a:buClrTx/>
              <a:buSzTx/>
              <a:buFont typeface="Wingdings" panose="05000000000000000000" pitchFamily="2" charset="2"/>
              <a:buChar char=""/>
              <a:tabLst>
                <a:tab pos="457200" algn="l"/>
              </a:tabLst>
              <a:defRPr/>
            </a:pPr>
            <a:endParaRPr kumimoji="0" lang="it-IT" sz="1500" b="0" i="0" u="none" strike="noStrike" kern="1200" cap="none" spc="0" normalizeH="0" baseline="0" noProof="0" dirty="0">
              <a:ln>
                <a:noFill/>
              </a:ln>
              <a:solidFill>
                <a:prstClr val="black"/>
              </a:solidFill>
              <a:effectLst/>
              <a:uLnTx/>
              <a:uFillTx/>
              <a:latin typeface="Century Gothic" panose="020B0502020202020204"/>
              <a:ea typeface="+mn-ea"/>
              <a:cs typeface="+mn-cs"/>
            </a:endParaRPr>
          </a:p>
          <a:p>
            <a:pPr marL="0" marR="0" lvl="0" indent="0" algn="just" defTabSz="457200" rtl="0" eaLnBrk="1" fontAlgn="auto" latinLnBrk="0" hangingPunct="1">
              <a:lnSpc>
                <a:spcPct val="115000"/>
              </a:lnSpc>
              <a:spcBef>
                <a:spcPts val="0"/>
              </a:spcBef>
              <a:spcAft>
                <a:spcPts val="1000"/>
              </a:spcAft>
              <a:buClrTx/>
              <a:buSzTx/>
              <a:buFontTx/>
              <a:buNone/>
              <a:tabLst/>
              <a:defRPr/>
            </a:pPr>
            <a:r>
              <a:rPr kumimoji="0" lang="it-IT" sz="1500" b="0" i="0" u="none" strike="noStrike" kern="1200" cap="none" spc="0" normalizeH="0" baseline="0" noProof="0" dirty="0">
                <a:ln>
                  <a:noFill/>
                </a:ln>
                <a:solidFill>
                  <a:prstClr val="black"/>
                </a:solidFill>
                <a:effectLst/>
                <a:uLnTx/>
                <a:uFillTx/>
                <a:latin typeface="Century Gothic" panose="020B0502020202020204"/>
                <a:ea typeface="+mn-ea"/>
                <a:cs typeface="+mn-cs"/>
              </a:rPr>
              <a:t>L’esperienza ha dimostrato come sia possibile trovare un equilibrio fra investimento nell’innovazione farmaceutica e sostenibilità permettendo il raggiungimento dell’obiettivo di cura e salute.</a:t>
            </a:r>
          </a:p>
        </p:txBody>
      </p:sp>
      <p:sp>
        <p:nvSpPr>
          <p:cNvPr id="5" name="CasellaDiTesto 4">
            <a:extLst>
              <a:ext uri="{FF2B5EF4-FFF2-40B4-BE49-F238E27FC236}">
                <a16:creationId xmlns:a16="http://schemas.microsoft.com/office/drawing/2014/main" id="{DBF5D3B7-A9C3-604A-90E5-212F76FB0912}"/>
              </a:ext>
            </a:extLst>
          </p:cNvPr>
          <p:cNvSpPr txBox="1"/>
          <p:nvPr/>
        </p:nvSpPr>
        <p:spPr>
          <a:xfrm>
            <a:off x="4786394" y="480152"/>
            <a:ext cx="5881607" cy="738664"/>
          </a:xfrm>
          <a:prstGeom prst="rect">
            <a:avLst/>
          </a:prstGeom>
          <a:noFill/>
        </p:spPr>
        <p:txBody>
          <a:bodyPr wrap="square" rtlCol="0">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it-IT" sz="2100" b="0" i="0" u="none" strike="noStrike" kern="1200" cap="none" spc="0" normalizeH="0" baseline="0" noProof="0" dirty="0">
                <a:ln>
                  <a:noFill/>
                </a:ln>
                <a:solidFill>
                  <a:prstClr val="black"/>
                </a:solidFill>
                <a:effectLst/>
                <a:uLnTx/>
                <a:uFillTx/>
                <a:latin typeface="Century Gothic" panose="020B0502020202020204"/>
                <a:ea typeface="+mn-ea"/>
                <a:cs typeface="+mn-cs"/>
              </a:rPr>
              <a:t>Evidenze preliminari, ulteriori analisi e consolidamento dei dati </a:t>
            </a:r>
          </a:p>
        </p:txBody>
      </p:sp>
    </p:spTree>
    <p:extLst>
      <p:ext uri="{BB962C8B-B14F-4D97-AF65-F5344CB8AC3E}">
        <p14:creationId xmlns:p14="http://schemas.microsoft.com/office/powerpoint/2010/main" val="3195825560"/>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95600" y="330400"/>
            <a:ext cx="8610600" cy="1293028"/>
          </a:xfrm>
        </p:spPr>
        <p:txBody>
          <a:bodyPr/>
          <a:lstStyle/>
          <a:p>
            <a:r>
              <a:rPr lang="it-IT" dirty="0"/>
              <a:t>Riassumendo</a:t>
            </a:r>
          </a:p>
        </p:txBody>
      </p:sp>
      <p:sp>
        <p:nvSpPr>
          <p:cNvPr id="3" name="Content Placeholder 2"/>
          <p:cNvSpPr>
            <a:spLocks noGrp="1"/>
          </p:cNvSpPr>
          <p:nvPr>
            <p:ph idx="1"/>
          </p:nvPr>
        </p:nvSpPr>
        <p:spPr>
          <a:xfrm>
            <a:off x="676894" y="1600200"/>
            <a:ext cx="11198431" cy="4997152"/>
          </a:xfrm>
        </p:spPr>
        <p:txBody>
          <a:bodyPr>
            <a:normAutofit/>
          </a:bodyPr>
          <a:lstStyle/>
          <a:p>
            <a:r>
              <a:rPr lang="it-IT" sz="2800" dirty="0">
                <a:cs typeface="Times New Roman" panose="02020603050405020304" pitchFamily="18" charset="0"/>
              </a:rPr>
              <a:t>La farmacoepidemiologia costituisce una </a:t>
            </a:r>
            <a:r>
              <a:rPr lang="it-IT" sz="2800" dirty="0" smtClean="0">
                <a:cs typeface="Times New Roman" panose="02020603050405020304" pitchFamily="18" charset="0"/>
              </a:rPr>
              <a:t>branca relativamente </a:t>
            </a:r>
            <a:r>
              <a:rPr lang="it-IT" sz="2800" dirty="0">
                <a:cs typeface="Times New Roman" panose="02020603050405020304" pitchFamily="18" charset="0"/>
              </a:rPr>
              <a:t>nuova che offre molte opportunità</a:t>
            </a:r>
          </a:p>
          <a:p>
            <a:r>
              <a:rPr lang="it-IT" sz="2800" dirty="0">
                <a:cs typeface="Times New Roman" panose="02020603050405020304" pitchFamily="18" charset="0"/>
              </a:rPr>
              <a:t>Costitisce un efficiente ed utile complemento ai risultati dei RCT, in particolare per valutare</a:t>
            </a:r>
          </a:p>
          <a:p>
            <a:pPr lvl="1" indent="-342900"/>
            <a:r>
              <a:rPr lang="it-IT" sz="2400" b="1" dirty="0">
                <a:cs typeface="Times New Roman" panose="02020603050405020304" pitchFamily="18" charset="0"/>
              </a:rPr>
              <a:t>Appropriatezza delle prescrizioni</a:t>
            </a:r>
          </a:p>
          <a:p>
            <a:pPr lvl="1" indent="-342900"/>
            <a:r>
              <a:rPr lang="it-IT" sz="2400" b="1" dirty="0">
                <a:cs typeface="Times New Roman" panose="02020603050405020304" pitchFamily="18" charset="0"/>
              </a:rPr>
              <a:t>Aderenza ai trattamenti farmacologici</a:t>
            </a:r>
          </a:p>
          <a:p>
            <a:pPr lvl="1" indent="-342900"/>
            <a:r>
              <a:rPr lang="it-IT" sz="2400" b="1" dirty="0">
                <a:cs typeface="Times New Roman" panose="02020603050405020304" pitchFamily="18" charset="0"/>
              </a:rPr>
              <a:t>Rischio di reazioni avverse ai farmaci</a:t>
            </a:r>
          </a:p>
          <a:p>
            <a:r>
              <a:rPr lang="it-IT" sz="2800" dirty="0">
                <a:cs typeface="Times New Roman" panose="02020603050405020304" pitchFamily="18" charset="0"/>
              </a:rPr>
              <a:t>A causa della natura osservazionale degli studi, i risultati devono essere sempre vagliati </a:t>
            </a:r>
            <a:r>
              <a:rPr lang="it-IT" sz="2800" dirty="0" smtClean="0">
                <a:cs typeface="Times New Roman" panose="02020603050405020304" pitchFamily="18" charset="0"/>
              </a:rPr>
              <a:t>criticamente</a:t>
            </a:r>
            <a:r>
              <a:rPr lang="it-IT" sz="2800" dirty="0">
                <a:cs typeface="Times New Roman" panose="02020603050405020304" pitchFamily="18" charset="0"/>
              </a:rPr>
              <a:t>. In particolare la possibile presenza di confondimento deve essere sempre </a:t>
            </a:r>
            <a:r>
              <a:rPr lang="it-IT" sz="2800" dirty="0" smtClean="0">
                <a:cs typeface="Times New Roman" panose="02020603050405020304" pitchFamily="18" charset="0"/>
              </a:rPr>
              <a:t>valutata.</a:t>
            </a:r>
          </a:p>
          <a:p>
            <a:pPr marL="342900" lvl="1" indent="0">
              <a:buNone/>
            </a:pPr>
            <a:endParaRPr lang="it-IT" sz="2400" dirty="0">
              <a:latin typeface="Times New Roman" panose="02020603050405020304" pitchFamily="18" charset="0"/>
              <a:cs typeface="Times New Roman" panose="02020603050405020304" pitchFamily="18" charset="0"/>
            </a:endParaRPr>
          </a:p>
          <a:p>
            <a:pPr lvl="1" indent="-342900"/>
            <a:endParaRPr lang="it-IT" sz="2400" dirty="0">
              <a:latin typeface="Times New Roman" panose="02020603050405020304" pitchFamily="18" charset="0"/>
              <a:cs typeface="Times New Roman" panose="02020603050405020304" pitchFamily="18" charset="0"/>
            </a:endParaRPr>
          </a:p>
          <a:p>
            <a:endParaRPr lang="it-IT" sz="2800" dirty="0">
              <a:latin typeface="Times New Roman" panose="02020603050405020304" pitchFamily="18" charset="0"/>
              <a:cs typeface="Times New Roman" panose="02020603050405020304" pitchFamily="18" charset="0"/>
            </a:endParaRPr>
          </a:p>
          <a:p>
            <a:endParaRPr lang="it-IT" dirty="0"/>
          </a:p>
        </p:txBody>
      </p:sp>
    </p:spTree>
    <p:extLst>
      <p:ext uri="{BB962C8B-B14F-4D97-AF65-F5344CB8AC3E}">
        <p14:creationId xmlns:p14="http://schemas.microsoft.com/office/powerpoint/2010/main" val="217574630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p:cNvSpPr>
            <a:spLocks noGrp="1"/>
          </p:cNvSpPr>
          <p:nvPr>
            <p:ph idx="1"/>
          </p:nvPr>
        </p:nvSpPr>
        <p:spPr>
          <a:xfrm>
            <a:off x="685800" y="4389121"/>
            <a:ext cx="10820400" cy="1819300"/>
          </a:xfrm>
        </p:spPr>
        <p:txBody>
          <a:bodyPr>
            <a:noAutofit/>
          </a:bodyPr>
          <a:lstStyle/>
          <a:p>
            <a:r>
              <a:rPr lang="it-IT" sz="2800" dirty="0" smtClean="0"/>
              <a:t>Per informazioni, approfondimenti:</a:t>
            </a:r>
            <a:endParaRPr lang="it-IT" sz="2800" dirty="0"/>
          </a:p>
          <a:p>
            <a:r>
              <a:rPr lang="it-IT" sz="2800" dirty="0" smtClean="0"/>
              <a:t>email</a:t>
            </a:r>
            <a:r>
              <a:rPr lang="it-IT" sz="2800" b="1" dirty="0" smtClean="0">
                <a:solidFill>
                  <a:schemeClr val="accent6">
                    <a:lumMod val="50000"/>
                  </a:schemeClr>
                </a:solidFill>
              </a:rPr>
              <a:t> </a:t>
            </a:r>
            <a:r>
              <a:rPr lang="it-IT" sz="2800" b="1" dirty="0" smtClean="0">
                <a:solidFill>
                  <a:schemeClr val="accent6">
                    <a:lumMod val="50000"/>
                  </a:schemeClr>
                </a:solidFill>
                <a:hlinkClick r:id="rId2"/>
              </a:rPr>
              <a:t>STEFANO.PALCIC@units.it</a:t>
            </a:r>
            <a:endParaRPr lang="it-IT" sz="2800" b="1" dirty="0" smtClean="0">
              <a:solidFill>
                <a:schemeClr val="accent6">
                  <a:lumMod val="50000"/>
                </a:schemeClr>
              </a:solidFill>
            </a:endParaRPr>
          </a:p>
          <a:p>
            <a:r>
              <a:rPr lang="it-IT" sz="2800" b="1" dirty="0" smtClean="0">
                <a:solidFill>
                  <a:schemeClr val="accent6">
                    <a:lumMod val="50000"/>
                  </a:schemeClr>
                </a:solidFill>
              </a:rPr>
              <a:t>0403995978</a:t>
            </a:r>
            <a:endParaRPr lang="it-IT" sz="2800" b="1" dirty="0">
              <a:solidFill>
                <a:schemeClr val="accent6">
                  <a:lumMod val="50000"/>
                </a:schemeClr>
              </a:solidFill>
            </a:endParaRPr>
          </a:p>
        </p:txBody>
      </p:sp>
      <p:sp>
        <p:nvSpPr>
          <p:cNvPr id="2" name="CasellaDiTesto 1"/>
          <p:cNvSpPr txBox="1"/>
          <p:nvPr/>
        </p:nvSpPr>
        <p:spPr>
          <a:xfrm>
            <a:off x="539015" y="1607419"/>
            <a:ext cx="11242307" cy="2308324"/>
          </a:xfrm>
          <a:prstGeom prst="rect">
            <a:avLst/>
          </a:prstGeom>
          <a:noFill/>
        </p:spPr>
        <p:txBody>
          <a:bodyPr wrap="square" rtlCol="0">
            <a:spAutoFit/>
          </a:bodyPr>
          <a:lstStyle/>
          <a:p>
            <a:r>
              <a:rPr lang="it-IT" sz="2400" dirty="0" smtClean="0"/>
              <a:t>Al laureato in Farmacia e CTF sono richieste sempre di più tali conoscenze nei vari sbocchi professionali </a:t>
            </a:r>
          </a:p>
          <a:p>
            <a:r>
              <a:rPr lang="it-IT" sz="2400" dirty="0" smtClean="0"/>
              <a:t>(es. aderenza </a:t>
            </a:r>
            <a:r>
              <a:rPr lang="it-IT" sz="2400" dirty="0" smtClean="0">
                <a:sym typeface="Wingdings" panose="05000000000000000000" pitchFamily="2" charset="2"/>
              </a:rPr>
              <a:t> farmacia dei servizi; </a:t>
            </a:r>
          </a:p>
          <a:p>
            <a:r>
              <a:rPr lang="it-IT" sz="2400" dirty="0" smtClean="0">
                <a:sym typeface="Wingdings" panose="05000000000000000000" pitchFamily="2" charset="2"/>
              </a:rPr>
              <a:t>studi</a:t>
            </a:r>
            <a:r>
              <a:rPr lang="it-IT" sz="2400" smtClean="0">
                <a:sym typeface="Wingdings" panose="05000000000000000000" pitchFamily="2" charset="2"/>
              </a:rPr>
              <a:t>, dossier </a:t>
            </a:r>
            <a:r>
              <a:rPr lang="it-IT" sz="2400" dirty="0" smtClean="0">
                <a:sym typeface="Wingdings" panose="05000000000000000000" pitchFamily="2" charset="2"/>
              </a:rPr>
              <a:t> industria; </a:t>
            </a:r>
          </a:p>
          <a:p>
            <a:r>
              <a:rPr lang="it-IT" sz="2400" dirty="0" smtClean="0">
                <a:sym typeface="Wingdings" panose="05000000000000000000" pitchFamily="2" charset="2"/>
              </a:rPr>
              <a:t>appropriatezza, </a:t>
            </a:r>
            <a:r>
              <a:rPr lang="it-IT" sz="2400" dirty="0" err="1" smtClean="0">
                <a:sym typeface="Wingdings" panose="05000000000000000000" pitchFamily="2" charset="2"/>
              </a:rPr>
              <a:t>farmacoepidemiologia</a:t>
            </a:r>
            <a:r>
              <a:rPr lang="it-IT" sz="2400" dirty="0" smtClean="0">
                <a:sym typeface="Wingdings" panose="05000000000000000000" pitchFamily="2" charset="2"/>
              </a:rPr>
              <a:t>  istituzioni, ospedali e Aziende Sanitarie SSN)</a:t>
            </a:r>
            <a:endParaRPr lang="it-IT" sz="2400" dirty="0"/>
          </a:p>
        </p:txBody>
      </p:sp>
    </p:spTree>
    <p:extLst>
      <p:ext uri="{BB962C8B-B14F-4D97-AF65-F5344CB8AC3E}">
        <p14:creationId xmlns:p14="http://schemas.microsoft.com/office/powerpoint/2010/main" val="336350434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2895600" y="0"/>
            <a:ext cx="8610600" cy="1293028"/>
          </a:xfrm>
        </p:spPr>
        <p:txBody>
          <a:bodyPr>
            <a:normAutofit/>
          </a:bodyPr>
          <a:lstStyle/>
          <a:p>
            <a:r>
              <a:rPr lang="it-IT" sz="3200" dirty="0" smtClean="0"/>
              <a:t>Di cosa parleremo</a:t>
            </a:r>
            <a:endParaRPr lang="it-IT" sz="3200" dirty="0"/>
          </a:p>
        </p:txBody>
      </p:sp>
      <p:sp>
        <p:nvSpPr>
          <p:cNvPr id="3" name="Segnaposto contenuto 2"/>
          <p:cNvSpPr>
            <a:spLocks noGrp="1"/>
          </p:cNvSpPr>
          <p:nvPr>
            <p:ph idx="1"/>
          </p:nvPr>
        </p:nvSpPr>
        <p:spPr>
          <a:xfrm>
            <a:off x="685800" y="1414915"/>
            <a:ext cx="11259152" cy="4091502"/>
          </a:xfrm>
        </p:spPr>
        <p:txBody>
          <a:bodyPr>
            <a:normAutofit fontScale="25000" lnSpcReduction="20000"/>
          </a:bodyPr>
          <a:lstStyle/>
          <a:p>
            <a:r>
              <a:rPr lang="it-IT" sz="7200" dirty="0"/>
              <a:t>L’AIFA e il processo di valutazione dei </a:t>
            </a:r>
            <a:r>
              <a:rPr lang="it-IT" sz="7200" dirty="0" smtClean="0"/>
              <a:t>farmaci</a:t>
            </a:r>
            <a:r>
              <a:rPr lang="it-IT" sz="7200" dirty="0"/>
              <a:t>.</a:t>
            </a:r>
            <a:r>
              <a:rPr lang="it-IT" sz="7200" dirty="0" smtClean="0"/>
              <a:t> L’</a:t>
            </a:r>
            <a:r>
              <a:rPr lang="it-IT" sz="7200" dirty="0" err="1" smtClean="0"/>
              <a:t>Health</a:t>
            </a:r>
            <a:r>
              <a:rPr lang="it-IT" sz="7200" dirty="0" smtClean="0"/>
              <a:t> </a:t>
            </a:r>
            <a:r>
              <a:rPr lang="it-IT" sz="7200" dirty="0"/>
              <a:t>Technology </a:t>
            </a:r>
            <a:r>
              <a:rPr lang="it-IT" sz="7200" dirty="0" err="1"/>
              <a:t>Assessment</a:t>
            </a:r>
            <a:r>
              <a:rPr lang="it-IT" sz="7200" dirty="0"/>
              <a:t> e la sua integrazione nel processo </a:t>
            </a:r>
            <a:r>
              <a:rPr lang="it-IT" sz="7200" dirty="0" err="1"/>
              <a:t>regolatorio</a:t>
            </a:r>
            <a:r>
              <a:rPr lang="it-IT" sz="7200" dirty="0" smtClean="0"/>
              <a:t>.</a:t>
            </a:r>
            <a:endParaRPr lang="it-IT" sz="7200" dirty="0"/>
          </a:p>
          <a:p>
            <a:r>
              <a:rPr lang="it-IT" sz="7200" b="1" dirty="0"/>
              <a:t>Studi osservazionali e sperimentali</a:t>
            </a:r>
            <a:r>
              <a:rPr lang="it-IT" sz="7200" dirty="0"/>
              <a:t>: nozioni di base per leggere uno studio clinico. </a:t>
            </a:r>
            <a:r>
              <a:rPr lang="it-IT" sz="7200" dirty="0" smtClean="0"/>
              <a:t>Piramide </a:t>
            </a:r>
            <a:r>
              <a:rPr lang="it-IT" sz="7200" dirty="0"/>
              <a:t>delle </a:t>
            </a:r>
            <a:r>
              <a:rPr lang="it-IT" sz="7200" dirty="0" smtClean="0"/>
              <a:t>evidenze.</a:t>
            </a:r>
            <a:r>
              <a:rPr lang="it-IT" sz="7200" dirty="0"/>
              <a:t> </a:t>
            </a:r>
            <a:r>
              <a:rPr lang="it-IT" sz="7200" dirty="0" smtClean="0"/>
              <a:t>La valutazione di efficacia dei farmaci: significato di </a:t>
            </a:r>
            <a:r>
              <a:rPr lang="it-IT" sz="7200" dirty="0" err="1" smtClean="0"/>
              <a:t>efficacy</a:t>
            </a:r>
            <a:r>
              <a:rPr lang="it-IT" sz="7200" dirty="0" smtClean="0"/>
              <a:t> e di </a:t>
            </a:r>
            <a:r>
              <a:rPr lang="it-IT" sz="7200" dirty="0" err="1" smtClean="0"/>
              <a:t>effectiveness</a:t>
            </a:r>
            <a:r>
              <a:rPr lang="it-IT" sz="7200" dirty="0" smtClean="0"/>
              <a:t>. Esempi di valutazione di studi sui farmaci e ruolo farmacista ospedaliero. </a:t>
            </a:r>
          </a:p>
          <a:p>
            <a:endParaRPr lang="it-IT" sz="7200" dirty="0" smtClean="0"/>
          </a:p>
          <a:p>
            <a:r>
              <a:rPr lang="it-IT" sz="7200" dirty="0" smtClean="0"/>
              <a:t>Gli </a:t>
            </a:r>
            <a:r>
              <a:rPr lang="it-IT" sz="7200" dirty="0"/>
              <a:t>studi </a:t>
            </a:r>
            <a:r>
              <a:rPr lang="it-IT" sz="7200" dirty="0" err="1" smtClean="0"/>
              <a:t>farmacoepidemiologici</a:t>
            </a:r>
            <a:r>
              <a:rPr lang="it-IT" sz="7200" dirty="0" smtClean="0"/>
              <a:t>. Appropriatezza </a:t>
            </a:r>
            <a:r>
              <a:rPr lang="it-IT" sz="7200" dirty="0"/>
              <a:t>terapeutica e impatto </a:t>
            </a:r>
            <a:r>
              <a:rPr lang="it-IT" sz="7200" dirty="0" smtClean="0"/>
              <a:t>economico. Aderenza </a:t>
            </a:r>
            <a:r>
              <a:rPr lang="it-IT" sz="7200" dirty="0"/>
              <a:t>al trattamento e ruolo del farmacista. </a:t>
            </a:r>
            <a:endParaRPr lang="it-IT" sz="7200" dirty="0" smtClean="0"/>
          </a:p>
          <a:p>
            <a:endParaRPr lang="it-IT" sz="7200" dirty="0"/>
          </a:p>
          <a:p>
            <a:r>
              <a:rPr lang="it-IT" sz="7200" dirty="0">
                <a:solidFill>
                  <a:srgbClr val="0070C0"/>
                </a:solidFill>
              </a:rPr>
              <a:t>La </a:t>
            </a:r>
            <a:r>
              <a:rPr lang="it-IT" sz="7200" b="1" dirty="0">
                <a:solidFill>
                  <a:srgbClr val="0070C0"/>
                </a:solidFill>
              </a:rPr>
              <a:t>farmacovigilanza</a:t>
            </a:r>
            <a:r>
              <a:rPr lang="it-IT" sz="7200" dirty="0">
                <a:solidFill>
                  <a:srgbClr val="0070C0"/>
                </a:solidFill>
              </a:rPr>
              <a:t>. </a:t>
            </a:r>
            <a:r>
              <a:rPr lang="it-IT" sz="7200" dirty="0" smtClean="0">
                <a:solidFill>
                  <a:srgbClr val="0070C0"/>
                </a:solidFill>
              </a:rPr>
              <a:t>La </a:t>
            </a:r>
            <a:r>
              <a:rPr lang="it-IT" sz="7200" dirty="0" err="1">
                <a:solidFill>
                  <a:srgbClr val="0070C0"/>
                </a:solidFill>
              </a:rPr>
              <a:t>politerapia</a:t>
            </a:r>
            <a:r>
              <a:rPr lang="it-IT" sz="7200" dirty="0">
                <a:solidFill>
                  <a:srgbClr val="0070C0"/>
                </a:solidFill>
              </a:rPr>
              <a:t> nelle patologie croniche, le interazioni farmacologiche e le ADR.  </a:t>
            </a:r>
            <a:endParaRPr lang="it-IT" sz="7200" dirty="0" smtClean="0">
              <a:solidFill>
                <a:srgbClr val="0070C0"/>
              </a:solidFill>
            </a:endParaRPr>
          </a:p>
          <a:p>
            <a:pPr marL="0" indent="0">
              <a:buNone/>
            </a:pPr>
            <a:endParaRPr lang="it-IT" sz="7200" dirty="0"/>
          </a:p>
          <a:p>
            <a:r>
              <a:rPr lang="it-IT" sz="7200" dirty="0"/>
              <a:t>Principi di </a:t>
            </a:r>
            <a:r>
              <a:rPr lang="it-IT" sz="7200" b="1" dirty="0" err="1" smtClean="0"/>
              <a:t>farmacoeconomia</a:t>
            </a:r>
            <a:r>
              <a:rPr lang="it-IT" sz="7200" dirty="0" smtClean="0"/>
              <a:t>. Analisi </a:t>
            </a:r>
            <a:r>
              <a:rPr lang="it-IT" sz="7200" dirty="0"/>
              <a:t>dei costi e degli esiti di una terapia farmacologica.</a:t>
            </a:r>
          </a:p>
          <a:p>
            <a:pPr marL="0" indent="0">
              <a:buNone/>
            </a:pPr>
            <a:r>
              <a:rPr lang="it-IT" sz="7200" dirty="0" smtClean="0"/>
              <a:t>    Il </a:t>
            </a:r>
            <a:r>
              <a:rPr lang="it-IT" sz="7200" dirty="0"/>
              <a:t>rapporto di costo - efficacia di un trattamento </a:t>
            </a:r>
            <a:r>
              <a:rPr lang="it-IT" sz="7200" dirty="0" smtClean="0"/>
              <a:t>farmacologico. </a:t>
            </a:r>
          </a:p>
          <a:p>
            <a:pPr marL="0" indent="0">
              <a:buNone/>
            </a:pPr>
            <a:endParaRPr lang="it-IT" sz="7200" b="1" dirty="0"/>
          </a:p>
          <a:p>
            <a:pPr marL="0" indent="0">
              <a:buNone/>
            </a:pPr>
            <a:r>
              <a:rPr lang="it-IT" sz="7200" b="1" dirty="0" err="1" smtClean="0"/>
              <a:t>Farmacoepidemiologia</a:t>
            </a:r>
            <a:r>
              <a:rPr lang="it-IT" sz="7200" b="1" dirty="0" smtClean="0"/>
              <a:t> </a:t>
            </a:r>
            <a:r>
              <a:rPr lang="it-IT" sz="7200" b="1" dirty="0"/>
              <a:t>e </a:t>
            </a:r>
            <a:r>
              <a:rPr lang="it-IT" sz="7200" b="1" dirty="0" err="1"/>
              <a:t>farmacoutilizzazione</a:t>
            </a:r>
            <a:r>
              <a:rPr lang="it-IT" sz="7200" dirty="0"/>
              <a:t>. </a:t>
            </a:r>
            <a:r>
              <a:rPr lang="it-IT" sz="7200" dirty="0" smtClean="0"/>
              <a:t>Come </a:t>
            </a:r>
            <a:r>
              <a:rPr lang="it-IT" sz="7200" dirty="0"/>
              <a:t>leggere e interpretare i dati di prescrizione.</a:t>
            </a:r>
          </a:p>
          <a:p>
            <a:r>
              <a:rPr lang="it-IT" sz="7200" dirty="0"/>
              <a:t>Le DDD. Spesa e consumi. </a:t>
            </a:r>
            <a:r>
              <a:rPr lang="it-IT" sz="7200" dirty="0" smtClean="0"/>
              <a:t>Rapporto </a:t>
            </a:r>
            <a:r>
              <a:rPr lang="it-IT" sz="7200" dirty="0"/>
              <a:t>Nazionale sull’uso dei farmaci in Italia.  </a:t>
            </a:r>
          </a:p>
          <a:p>
            <a:endParaRPr lang="it-IT" dirty="0" smtClean="0"/>
          </a:p>
          <a:p>
            <a:endParaRPr lang="it-IT" dirty="0" smtClean="0"/>
          </a:p>
          <a:p>
            <a:endParaRPr lang="it-IT" dirty="0"/>
          </a:p>
        </p:txBody>
      </p:sp>
    </p:spTree>
    <p:extLst>
      <p:ext uri="{BB962C8B-B14F-4D97-AF65-F5344CB8AC3E}">
        <p14:creationId xmlns:p14="http://schemas.microsoft.com/office/powerpoint/2010/main" val="160157865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a:extLst>
              <a:ext uri="{FF2B5EF4-FFF2-40B4-BE49-F238E27FC236}">
                <a16:creationId xmlns:a16="http://schemas.microsoft.com/office/drawing/2014/main" id="{8ADC1C2D-D4FE-E54E-BF47-E796B8D26991}"/>
              </a:ext>
            </a:extLst>
          </p:cNvPr>
          <p:cNvSpPr/>
          <p:nvPr/>
        </p:nvSpPr>
        <p:spPr>
          <a:xfrm>
            <a:off x="346710" y="1240393"/>
            <a:ext cx="11498580" cy="3785652"/>
          </a:xfrm>
          <a:prstGeom prst="rect">
            <a:avLst/>
          </a:prstGeom>
        </p:spPr>
        <p:txBody>
          <a:bodyPr wrap="square">
            <a:spAutoFit/>
          </a:bodyPr>
          <a:lstStyle/>
          <a:p>
            <a:pPr marL="285750" indent="-285750" algn="ctr">
              <a:buFont typeface="Wingdings" pitchFamily="2" charset="2"/>
              <a:buChar char="ü"/>
            </a:pPr>
            <a:r>
              <a:rPr lang="it-IT" b="1" dirty="0">
                <a:solidFill>
                  <a:srgbClr val="000000"/>
                </a:solidFill>
              </a:rPr>
              <a:t>EFFICACY= </a:t>
            </a:r>
            <a:r>
              <a:rPr lang="it-IT" dirty="0">
                <a:solidFill>
                  <a:srgbClr val="000000"/>
                </a:solidFill>
              </a:rPr>
              <a:t>effetti dei trattamenti nelle condizioni ideali di un RCT </a:t>
            </a:r>
          </a:p>
          <a:p>
            <a:pPr algn="ctr"/>
            <a:r>
              <a:rPr lang="it-IT" dirty="0">
                <a:solidFill>
                  <a:srgbClr val="000000"/>
                </a:solidFill>
              </a:rPr>
              <a:t>➪ CONDIZIONI </a:t>
            </a:r>
            <a:r>
              <a:rPr lang="it-IT" u="sng" dirty="0">
                <a:solidFill>
                  <a:srgbClr val="000000"/>
                </a:solidFill>
              </a:rPr>
              <a:t>SPERIMENTALI</a:t>
            </a:r>
            <a:r>
              <a:rPr lang="it-IT" dirty="0">
                <a:solidFill>
                  <a:srgbClr val="000000"/>
                </a:solidFill>
              </a:rPr>
              <a:t> DEGLI RCT</a:t>
            </a:r>
          </a:p>
          <a:p>
            <a:pPr algn="ctr"/>
            <a:r>
              <a:rPr lang="it-IT" sz="1600" i="1" dirty="0">
                <a:solidFill>
                  <a:srgbClr val="000000"/>
                </a:solidFill>
              </a:rPr>
              <a:t>Risponde alla domanda relativo al trattamento “can </a:t>
            </a:r>
            <a:r>
              <a:rPr lang="it-IT" sz="1600" i="1" dirty="0" err="1">
                <a:solidFill>
                  <a:srgbClr val="000000"/>
                </a:solidFill>
              </a:rPr>
              <a:t>it</a:t>
            </a:r>
            <a:r>
              <a:rPr lang="it-IT" sz="1600" i="1" dirty="0">
                <a:solidFill>
                  <a:srgbClr val="000000"/>
                </a:solidFill>
              </a:rPr>
              <a:t> work?”, “ può essere utile?” </a:t>
            </a:r>
          </a:p>
          <a:p>
            <a:pPr algn="ctr"/>
            <a:endParaRPr lang="it-IT" dirty="0">
              <a:solidFill>
                <a:srgbClr val="000000"/>
              </a:solidFill>
            </a:endParaRPr>
          </a:p>
          <a:p>
            <a:pPr algn="ctr"/>
            <a:endParaRPr lang="it-IT" dirty="0">
              <a:solidFill>
                <a:srgbClr val="000000"/>
              </a:solidFill>
            </a:endParaRPr>
          </a:p>
          <a:p>
            <a:pPr marL="285750" indent="-285750" algn="ctr">
              <a:buFont typeface="Wingdings" pitchFamily="2" charset="2"/>
              <a:buChar char="ü"/>
            </a:pPr>
            <a:r>
              <a:rPr lang="it-IT" b="1" dirty="0">
                <a:solidFill>
                  <a:srgbClr val="000000"/>
                </a:solidFill>
              </a:rPr>
              <a:t>EFFECTIVENESS=</a:t>
            </a:r>
            <a:r>
              <a:rPr lang="it-IT" dirty="0">
                <a:solidFill>
                  <a:srgbClr val="000000"/>
                </a:solidFill>
              </a:rPr>
              <a:t> effetti dei trattamenti nelle variabili condizioni condizioni della pratica corrente </a:t>
            </a:r>
          </a:p>
          <a:p>
            <a:pPr algn="ctr"/>
            <a:r>
              <a:rPr lang="it-IT" dirty="0">
                <a:solidFill>
                  <a:srgbClr val="000000"/>
                </a:solidFill>
              </a:rPr>
              <a:t>➪  </a:t>
            </a:r>
            <a:r>
              <a:rPr lang="it-IT" u="sng" dirty="0">
                <a:solidFill>
                  <a:srgbClr val="000000"/>
                </a:solidFill>
              </a:rPr>
              <a:t>PRATICA CORRENTE</a:t>
            </a:r>
          </a:p>
          <a:p>
            <a:pPr algn="ctr"/>
            <a:r>
              <a:rPr lang="it-IT" sz="1600" i="1" dirty="0">
                <a:solidFill>
                  <a:srgbClr val="000000"/>
                </a:solidFill>
              </a:rPr>
              <a:t>Risponde ad una domanda successiva, “</a:t>
            </a:r>
            <a:r>
              <a:rPr lang="it-IT" sz="1600" i="1" dirty="0" err="1">
                <a:solidFill>
                  <a:srgbClr val="000000"/>
                </a:solidFill>
              </a:rPr>
              <a:t>does</a:t>
            </a:r>
            <a:r>
              <a:rPr lang="it-IT" sz="1600" i="1" dirty="0">
                <a:solidFill>
                  <a:srgbClr val="000000"/>
                </a:solidFill>
              </a:rPr>
              <a:t> </a:t>
            </a:r>
            <a:r>
              <a:rPr lang="it-IT" sz="1600" i="1" dirty="0" err="1">
                <a:solidFill>
                  <a:srgbClr val="000000"/>
                </a:solidFill>
              </a:rPr>
              <a:t>it</a:t>
            </a:r>
            <a:r>
              <a:rPr lang="it-IT" sz="1600" i="1" dirty="0">
                <a:solidFill>
                  <a:srgbClr val="000000"/>
                </a:solidFill>
              </a:rPr>
              <a:t> work?”, “è utile”</a:t>
            </a:r>
          </a:p>
          <a:p>
            <a:endParaRPr lang="it-IT" sz="1600" i="1" dirty="0">
              <a:solidFill>
                <a:srgbClr val="000000"/>
              </a:solidFill>
            </a:endParaRPr>
          </a:p>
          <a:p>
            <a:r>
              <a:rPr lang="it-IT" sz="1600" i="1" dirty="0">
                <a:solidFill>
                  <a:srgbClr val="000000"/>
                </a:solidFill>
              </a:rPr>
              <a:t/>
            </a:r>
            <a:br>
              <a:rPr lang="it-IT" sz="1600" i="1" dirty="0">
                <a:solidFill>
                  <a:srgbClr val="000000"/>
                </a:solidFill>
              </a:rPr>
            </a:br>
            <a:endParaRPr lang="it-IT" sz="1600" i="1" dirty="0">
              <a:solidFill>
                <a:srgbClr val="000000"/>
              </a:solidFill>
            </a:endParaRPr>
          </a:p>
          <a:p>
            <a:endParaRPr lang="it-IT" sz="1600" i="1" dirty="0">
              <a:solidFill>
                <a:srgbClr val="000000"/>
              </a:solidFill>
            </a:endParaRPr>
          </a:p>
          <a:p>
            <a:r>
              <a:rPr lang="it-IT" sz="2000" b="1" dirty="0">
                <a:solidFill>
                  <a:srgbClr val="000000"/>
                </a:solidFill>
              </a:rPr>
              <a:t>		SCEGLIERE STUDI IN CUI SIA STATA DIMOSTRATA L’</a:t>
            </a:r>
            <a:r>
              <a:rPr lang="it-IT" sz="2000" b="1" u="sng" dirty="0">
                <a:solidFill>
                  <a:srgbClr val="000000"/>
                </a:solidFill>
              </a:rPr>
              <a:t>EFFECTIVENESS</a:t>
            </a:r>
            <a:r>
              <a:rPr lang="it-IT" sz="2000" b="1" dirty="0">
                <a:solidFill>
                  <a:srgbClr val="000000"/>
                </a:solidFill>
              </a:rPr>
              <a:t>!</a:t>
            </a:r>
          </a:p>
          <a:p>
            <a:r>
              <a:rPr lang="it-IT" sz="1600" dirty="0">
                <a:solidFill>
                  <a:srgbClr val="000000"/>
                </a:solidFill>
              </a:rPr>
              <a:t>				(si evidenziano reazioni avverse non individuabili dagli RCT)</a:t>
            </a:r>
          </a:p>
        </p:txBody>
      </p:sp>
      <p:sp>
        <p:nvSpPr>
          <p:cNvPr id="3" name="Titolo 1">
            <a:extLst>
              <a:ext uri="{FF2B5EF4-FFF2-40B4-BE49-F238E27FC236}">
                <a16:creationId xmlns:a16="http://schemas.microsoft.com/office/drawing/2014/main" id="{E055853F-5F4A-B246-98BA-1C698C345872}"/>
              </a:ext>
            </a:extLst>
          </p:cNvPr>
          <p:cNvSpPr txBox="1">
            <a:spLocks/>
          </p:cNvSpPr>
          <p:nvPr/>
        </p:nvSpPr>
        <p:spPr>
          <a:xfrm>
            <a:off x="2444818" y="309838"/>
            <a:ext cx="6898386" cy="772544"/>
          </a:xfrm>
          <a:prstGeom prst="rect">
            <a:avLst/>
          </a:prstGeom>
        </p:spPr>
        <p:txBody>
          <a:bodyPr/>
          <a:lstStyle>
            <a:lvl1pPr algn="r" defTabSz="914400" rtl="0" eaLnBrk="1" latinLnBrk="0" hangingPunct="1">
              <a:lnSpc>
                <a:spcPct val="90000"/>
              </a:lnSpc>
              <a:spcBef>
                <a:spcPct val="0"/>
              </a:spcBef>
              <a:buNone/>
              <a:defRPr sz="4000" kern="1200" cap="all" baseline="0">
                <a:solidFill>
                  <a:schemeClr val="tx1"/>
                </a:solidFill>
                <a:latin typeface="+mj-lt"/>
                <a:ea typeface="+mj-ea"/>
                <a:cs typeface="+mj-cs"/>
              </a:defRPr>
            </a:lvl1pPr>
          </a:lstStyle>
          <a:p>
            <a:pPr algn="ctr"/>
            <a:r>
              <a:rPr lang="it-IT" sz="3600" dirty="0" smtClean="0">
                <a:solidFill>
                  <a:srgbClr val="000000"/>
                </a:solidFill>
                <a:latin typeface="+mn-lt"/>
              </a:rPr>
              <a:t>EFFICACY </a:t>
            </a:r>
            <a:r>
              <a:rPr lang="it-IT" sz="3600" dirty="0">
                <a:solidFill>
                  <a:srgbClr val="000000"/>
                </a:solidFill>
                <a:latin typeface="+mn-lt"/>
              </a:rPr>
              <a:t>ED EFFECTIVENESS</a:t>
            </a:r>
          </a:p>
        </p:txBody>
      </p:sp>
      <p:pic>
        <p:nvPicPr>
          <p:cNvPr id="4" name="Picture 5">
            <a:extLst>
              <a:ext uri="{FF2B5EF4-FFF2-40B4-BE49-F238E27FC236}">
                <a16:creationId xmlns:a16="http://schemas.microsoft.com/office/drawing/2014/main" id="{A1EC3B07-099F-DB4F-AC17-033CA5F8C439}"/>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346710" y="1082382"/>
            <a:ext cx="1392237" cy="103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a:extLst>
              <a:ext uri="{FF2B5EF4-FFF2-40B4-BE49-F238E27FC236}">
                <a16:creationId xmlns:a16="http://schemas.microsoft.com/office/drawing/2014/main" id="{74BECABD-332A-314C-86ED-640F9A00EC56}"/>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9343204" y="2955952"/>
            <a:ext cx="1164648" cy="1099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852397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Immagine 20">
            <a:extLst>
              <a:ext uri="{FF2B5EF4-FFF2-40B4-BE49-F238E27FC236}">
                <a16:creationId xmlns:a16="http://schemas.microsoft.com/office/drawing/2014/main" id="{A3373BE2-535C-0946-BA53-F70748DEBB6A}"/>
              </a:ext>
            </a:extLst>
          </p:cNvPr>
          <p:cNvPicPr>
            <a:picLocks noChangeAspect="1"/>
          </p:cNvPicPr>
          <p:nvPr/>
        </p:nvPicPr>
        <p:blipFill>
          <a:blip r:embed="rId3">
            <a:alphaModFix/>
            <a:lum bright="70000" contrast="-70000"/>
            <a:extLst>
              <a:ext uri="{BEBA8EAE-BF5A-486C-A8C5-ECC9F3942E4B}">
                <a14:imgProps xmlns:a14="http://schemas.microsoft.com/office/drawing/2010/main">
                  <a14:imgLayer r:embed="rId4">
                    <a14:imgEffect>
                      <a14:colorTemperature colorTemp="1500"/>
                    </a14:imgEffect>
                    <a14:imgEffect>
                      <a14:saturation sat="34000"/>
                    </a14:imgEffect>
                  </a14:imgLayer>
                </a14:imgProps>
              </a:ext>
            </a:extLst>
          </a:blip>
          <a:stretch>
            <a:fillRect/>
          </a:stretch>
        </p:blipFill>
        <p:spPr>
          <a:xfrm>
            <a:off x="0" y="0"/>
            <a:ext cx="12199171" cy="6858000"/>
          </a:xfrm>
          <a:prstGeom prst="rect">
            <a:avLst/>
          </a:prstGeom>
          <a:solidFill>
            <a:srgbClr val="FFFFFF"/>
          </a:solidFill>
          <a:ln>
            <a:solidFill>
              <a:schemeClr val="bg1"/>
            </a:solidFill>
          </a:ln>
        </p:spPr>
      </p:pic>
      <p:graphicFrame>
        <p:nvGraphicFramePr>
          <p:cNvPr id="4" name="Oggetto 1">
            <a:extLst>
              <a:ext uri="{FF2B5EF4-FFF2-40B4-BE49-F238E27FC236}">
                <a16:creationId xmlns:a16="http://schemas.microsoft.com/office/drawing/2014/main" id="{FB1CB64D-2359-5C49-9D63-2767D554F428}"/>
              </a:ext>
            </a:extLst>
          </p:cNvPr>
          <p:cNvGraphicFramePr>
            <a:graphicFrameLocks noChangeAspect="1"/>
          </p:cNvGraphicFramePr>
          <p:nvPr>
            <p:extLst>
              <p:ext uri="{D42A27DB-BD31-4B8C-83A1-F6EECF244321}">
                <p14:modId xmlns:p14="http://schemas.microsoft.com/office/powerpoint/2010/main" val="996881047"/>
              </p:ext>
            </p:extLst>
          </p:nvPr>
        </p:nvGraphicFramePr>
        <p:xfrm>
          <a:off x="3385852" y="5411607"/>
          <a:ext cx="6792911" cy="1438692"/>
        </p:xfrm>
        <a:graphic>
          <a:graphicData uri="http://schemas.openxmlformats.org/drawingml/2006/chart">
            <c:chart xmlns:c="http://schemas.openxmlformats.org/drawingml/2006/chart" xmlns:r="http://schemas.openxmlformats.org/officeDocument/2006/relationships" r:id="rId5"/>
          </a:graphicData>
        </a:graphic>
      </p:graphicFrame>
      <p:sp>
        <p:nvSpPr>
          <p:cNvPr id="95235" name="Figura a mano libera 2">
            <a:extLst>
              <a:ext uri="{FF2B5EF4-FFF2-40B4-BE49-F238E27FC236}">
                <a16:creationId xmlns:a16="http://schemas.microsoft.com/office/drawing/2014/main" id="{0A61EECE-6CD3-DE44-8291-E2C7AA65E65B}"/>
              </a:ext>
            </a:extLst>
          </p:cNvPr>
          <p:cNvSpPr>
            <a:spLocks/>
          </p:cNvSpPr>
          <p:nvPr/>
        </p:nvSpPr>
        <p:spPr bwMode="auto">
          <a:xfrm>
            <a:off x="7248526" y="549275"/>
            <a:ext cx="3273980" cy="686558"/>
          </a:xfrm>
          <a:custGeom>
            <a:avLst/>
            <a:gdLst>
              <a:gd name="T0" fmla="*/ 221827185 w 21600"/>
              <a:gd name="T1" fmla="*/ 0 h 21600"/>
              <a:gd name="T2" fmla="*/ 443654226 w 21600"/>
              <a:gd name="T3" fmla="*/ 5862676 h 21600"/>
              <a:gd name="T4" fmla="*/ 221827185 w 21600"/>
              <a:gd name="T5" fmla="*/ 11725352 h 21600"/>
              <a:gd name="T6" fmla="*/ 0 w 21600"/>
              <a:gd name="T7" fmla="*/ 5862676 h 21600"/>
              <a:gd name="T8" fmla="*/ 17694720 60000 65536"/>
              <a:gd name="T9" fmla="*/ 0 60000 65536"/>
              <a:gd name="T10" fmla="*/ 5898240 60000 65536"/>
              <a:gd name="T11" fmla="*/ 1179648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solidFill>
            <a:schemeClr val="accent1">
              <a:alpha val="80000"/>
            </a:schemeClr>
          </a:solidFill>
          <a:ln w="9363" cap="sq">
            <a:solidFill>
              <a:schemeClr val="bg1"/>
            </a:solidFill>
            <a:miter lim="800000"/>
            <a:headEnd/>
            <a:tailEnd/>
          </a:ln>
        </p:spPr>
        <p:txBody>
          <a:bodyPr wrap="none" lIns="90004" tIns="46798" rIns="90004" bIns="46798" anchor="ctr" anchorCtr="1"/>
          <a:lstStyle>
            <a:lvl1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1pPr>
            <a:lvl2pPr marL="742950" indent="-28575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2pPr>
            <a:lvl3pPr marL="1143000" indent="-2286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3pPr>
            <a:lvl4pPr marL="1600200" indent="-2286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4pPr>
            <a:lvl5pPr marL="2057400" indent="-2286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5pPr>
            <a:lvl6pPr marL="25146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6pPr>
            <a:lvl7pPr marL="29718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7pPr>
            <a:lvl8pPr marL="34290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8pPr>
            <a:lvl9pPr marL="38862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9pPr>
          </a:lstStyle>
          <a:p>
            <a:pPr algn="ctr" eaLnBrk="1"/>
            <a:r>
              <a:rPr lang="it-IT" altLang="it-IT" sz="2000" b="1" dirty="0">
                <a:latin typeface="+mn-lt"/>
                <a:ea typeface="MS Gothic" panose="020B0609070205080204" pitchFamily="49" charset="-128"/>
              </a:rPr>
              <a:t>EFFICACY </a:t>
            </a:r>
            <a:r>
              <a:rPr lang="it-IT" altLang="it-IT" sz="2000" dirty="0">
                <a:latin typeface="+mn-lt"/>
                <a:ea typeface="MS Gothic" panose="020B0609070205080204" pitchFamily="49" charset="-128"/>
              </a:rPr>
              <a:t>– Esiti ideali</a:t>
            </a:r>
          </a:p>
        </p:txBody>
      </p:sp>
      <p:sp>
        <p:nvSpPr>
          <p:cNvPr id="95236" name="Figura a mano libera 3">
            <a:extLst>
              <a:ext uri="{FF2B5EF4-FFF2-40B4-BE49-F238E27FC236}">
                <a16:creationId xmlns:a16="http://schemas.microsoft.com/office/drawing/2014/main" id="{51334074-AE50-3C4B-9FA0-0132939A3F8C}"/>
              </a:ext>
            </a:extLst>
          </p:cNvPr>
          <p:cNvSpPr>
            <a:spLocks/>
          </p:cNvSpPr>
          <p:nvPr/>
        </p:nvSpPr>
        <p:spPr bwMode="auto">
          <a:xfrm>
            <a:off x="1976569" y="5672827"/>
            <a:ext cx="3030785" cy="916253"/>
          </a:xfrm>
          <a:custGeom>
            <a:avLst/>
            <a:gdLst>
              <a:gd name="T0" fmla="*/ 276208067 w 21600"/>
              <a:gd name="T1" fmla="*/ 0 h 21600"/>
              <a:gd name="T2" fmla="*/ 552416133 w 21600"/>
              <a:gd name="T3" fmla="*/ 7688256 h 21600"/>
              <a:gd name="T4" fmla="*/ 276208067 w 21600"/>
              <a:gd name="T5" fmla="*/ 15376484 h 21600"/>
              <a:gd name="T6" fmla="*/ 0 w 21600"/>
              <a:gd name="T7" fmla="*/ 7688256 h 21600"/>
              <a:gd name="T8" fmla="*/ 17694720 60000 65536"/>
              <a:gd name="T9" fmla="*/ 0 60000 65536"/>
              <a:gd name="T10" fmla="*/ 5898240 60000 65536"/>
              <a:gd name="T11" fmla="*/ 1179648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solidFill>
            <a:schemeClr val="accent1">
              <a:lumMod val="20000"/>
              <a:lumOff val="80000"/>
              <a:alpha val="25000"/>
            </a:schemeClr>
          </a:solidFill>
          <a:ln w="9363" cap="sq">
            <a:solidFill>
              <a:schemeClr val="bg1"/>
            </a:solidFill>
            <a:miter lim="800000"/>
            <a:headEnd/>
            <a:tailEnd/>
          </a:ln>
        </p:spPr>
        <p:txBody>
          <a:bodyPr wrap="none" lIns="90004" tIns="46798" rIns="90004" bIns="46798" anchor="ctr" anchorCtr="1"/>
          <a:lstStyle>
            <a:lvl1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1pPr>
            <a:lvl2pPr marL="742950" indent="-28575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2pPr>
            <a:lvl3pPr marL="1143000" indent="-2286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3pPr>
            <a:lvl4pPr marL="1600200" indent="-2286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4pPr>
            <a:lvl5pPr marL="2057400" indent="-2286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5pPr>
            <a:lvl6pPr marL="25146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6pPr>
            <a:lvl7pPr marL="29718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7pPr>
            <a:lvl8pPr marL="34290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8pPr>
            <a:lvl9pPr marL="38862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9pPr>
          </a:lstStyle>
          <a:p>
            <a:pPr algn="ctr" eaLnBrk="1"/>
            <a:r>
              <a:rPr lang="it-IT" altLang="it-IT" sz="2000">
                <a:latin typeface="+mn-lt"/>
                <a:ea typeface="MS Gothic" panose="020B0609070205080204" pitchFamily="49" charset="-128"/>
              </a:rPr>
              <a:t>Esiti reali - </a:t>
            </a:r>
            <a:r>
              <a:rPr lang="it-IT" altLang="it-IT" sz="2000" b="1">
                <a:latin typeface="+mn-lt"/>
                <a:ea typeface="MS Gothic" panose="020B0609070205080204" pitchFamily="49" charset="-128"/>
              </a:rPr>
              <a:t>EFFECTIVENESS</a:t>
            </a:r>
          </a:p>
        </p:txBody>
      </p:sp>
      <p:sp>
        <p:nvSpPr>
          <p:cNvPr id="95237" name="Figura a mano libera 4">
            <a:extLst>
              <a:ext uri="{FF2B5EF4-FFF2-40B4-BE49-F238E27FC236}">
                <a16:creationId xmlns:a16="http://schemas.microsoft.com/office/drawing/2014/main" id="{9AF0F86B-FEF4-6342-A0EC-85BB113274B9}"/>
              </a:ext>
            </a:extLst>
          </p:cNvPr>
          <p:cNvSpPr>
            <a:spLocks/>
          </p:cNvSpPr>
          <p:nvPr/>
        </p:nvSpPr>
        <p:spPr bwMode="auto">
          <a:xfrm>
            <a:off x="3560894" y="3728139"/>
            <a:ext cx="3600451" cy="686558"/>
          </a:xfrm>
          <a:custGeom>
            <a:avLst/>
            <a:gdLst>
              <a:gd name="T0" fmla="*/ 389850360 w 21600"/>
              <a:gd name="T1" fmla="*/ 0 h 21600"/>
              <a:gd name="T2" fmla="*/ 779700720 w 21600"/>
              <a:gd name="T3" fmla="*/ 4314422 h 21600"/>
              <a:gd name="T4" fmla="*/ 389850360 w 21600"/>
              <a:gd name="T5" fmla="*/ 8628843 h 21600"/>
              <a:gd name="T6" fmla="*/ 0 w 21600"/>
              <a:gd name="T7" fmla="*/ 4314422 h 21600"/>
              <a:gd name="T8" fmla="*/ 17694720 60000 65536"/>
              <a:gd name="T9" fmla="*/ 0 60000 65536"/>
              <a:gd name="T10" fmla="*/ 5898240 60000 65536"/>
              <a:gd name="T11" fmla="*/ 1179648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solidFill>
            <a:schemeClr val="accent1">
              <a:lumMod val="40000"/>
              <a:lumOff val="60000"/>
            </a:schemeClr>
          </a:solidFill>
          <a:ln w="9363" cap="sq">
            <a:solidFill>
              <a:schemeClr val="bg1"/>
            </a:solidFill>
            <a:miter lim="800000"/>
            <a:headEnd/>
            <a:tailEnd/>
          </a:ln>
        </p:spPr>
        <p:txBody>
          <a:bodyPr wrap="none" lIns="90004" tIns="46798" rIns="90004" bIns="46798" anchor="ctr" anchorCtr="1"/>
          <a:lstStyle>
            <a:lvl1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1pPr>
            <a:lvl2pPr marL="742950" indent="-28575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2pPr>
            <a:lvl3pPr marL="1143000" indent="-2286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3pPr>
            <a:lvl4pPr marL="1600200" indent="-2286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4pPr>
            <a:lvl5pPr marL="2057400" indent="-2286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5pPr>
            <a:lvl6pPr marL="25146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6pPr>
            <a:lvl7pPr marL="29718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7pPr>
            <a:lvl8pPr marL="34290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8pPr>
            <a:lvl9pPr marL="38862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9pPr>
          </a:lstStyle>
          <a:p>
            <a:pPr algn="ctr" eaLnBrk="1"/>
            <a:r>
              <a:rPr lang="it-IT" altLang="it-IT" sz="2000">
                <a:latin typeface="+mn-lt"/>
                <a:ea typeface="MS Gothic" panose="020B0609070205080204" pitchFamily="49" charset="-128"/>
              </a:rPr>
              <a:t>Aderenza e persistenza</a:t>
            </a:r>
          </a:p>
        </p:txBody>
      </p:sp>
      <p:sp>
        <p:nvSpPr>
          <p:cNvPr id="95238" name="Figura a mano libera 5">
            <a:extLst>
              <a:ext uri="{FF2B5EF4-FFF2-40B4-BE49-F238E27FC236}">
                <a16:creationId xmlns:a16="http://schemas.microsoft.com/office/drawing/2014/main" id="{5D6F3984-0999-4249-B9C1-3A9EE9D7E34F}"/>
              </a:ext>
            </a:extLst>
          </p:cNvPr>
          <p:cNvSpPr>
            <a:spLocks/>
          </p:cNvSpPr>
          <p:nvPr/>
        </p:nvSpPr>
        <p:spPr bwMode="auto">
          <a:xfrm>
            <a:off x="4711834" y="2720076"/>
            <a:ext cx="3600450" cy="686558"/>
          </a:xfrm>
          <a:custGeom>
            <a:avLst/>
            <a:gdLst>
              <a:gd name="T0" fmla="*/ 389816448 w 21600"/>
              <a:gd name="T1" fmla="*/ 0 h 21600"/>
              <a:gd name="T2" fmla="*/ 779632895 w 21600"/>
              <a:gd name="T3" fmla="*/ 4314422 h 21600"/>
              <a:gd name="T4" fmla="*/ 389816448 w 21600"/>
              <a:gd name="T5" fmla="*/ 8628843 h 21600"/>
              <a:gd name="T6" fmla="*/ 0 w 21600"/>
              <a:gd name="T7" fmla="*/ 4314422 h 21600"/>
              <a:gd name="T8" fmla="*/ 17694720 60000 65536"/>
              <a:gd name="T9" fmla="*/ 0 60000 65536"/>
              <a:gd name="T10" fmla="*/ 5898240 60000 65536"/>
              <a:gd name="T11" fmla="*/ 1179648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solidFill>
            <a:schemeClr val="accent1">
              <a:lumMod val="60000"/>
              <a:lumOff val="40000"/>
            </a:schemeClr>
          </a:solidFill>
          <a:ln w="9363" cap="sq">
            <a:solidFill>
              <a:schemeClr val="bg1"/>
            </a:solidFill>
            <a:miter lim="800000"/>
            <a:headEnd/>
            <a:tailEnd/>
          </a:ln>
        </p:spPr>
        <p:txBody>
          <a:bodyPr wrap="none" lIns="90004" tIns="46798" rIns="90004" bIns="46798" anchor="ctr" anchorCtr="1"/>
          <a:lstStyle>
            <a:lvl1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1pPr>
            <a:lvl2pPr marL="742950" indent="-28575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2pPr>
            <a:lvl3pPr marL="1143000" indent="-2286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3pPr>
            <a:lvl4pPr marL="1600200" indent="-2286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4pPr>
            <a:lvl5pPr marL="2057400" indent="-2286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5pPr>
            <a:lvl6pPr marL="25146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6pPr>
            <a:lvl7pPr marL="29718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7pPr>
            <a:lvl8pPr marL="34290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8pPr>
            <a:lvl9pPr marL="38862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9pPr>
          </a:lstStyle>
          <a:p>
            <a:pPr algn="ctr" eaLnBrk="1"/>
            <a:r>
              <a:rPr lang="it-IT" altLang="it-IT" sz="2000" dirty="0">
                <a:latin typeface="+mn-lt"/>
                <a:ea typeface="MS Gothic" panose="020B0609070205080204" pitchFamily="49" charset="-128"/>
              </a:rPr>
              <a:t>Appropriatezza prescrittiva</a:t>
            </a:r>
          </a:p>
        </p:txBody>
      </p:sp>
      <p:sp>
        <p:nvSpPr>
          <p:cNvPr id="95239" name="Figura a mano libera 6">
            <a:extLst>
              <a:ext uri="{FF2B5EF4-FFF2-40B4-BE49-F238E27FC236}">
                <a16:creationId xmlns:a16="http://schemas.microsoft.com/office/drawing/2014/main" id="{5F6B9143-D2A0-8346-AFF9-6FEFB1031265}"/>
              </a:ext>
            </a:extLst>
          </p:cNvPr>
          <p:cNvSpPr>
            <a:spLocks/>
          </p:cNvSpPr>
          <p:nvPr/>
        </p:nvSpPr>
        <p:spPr bwMode="auto">
          <a:xfrm>
            <a:off x="5577019" y="1712014"/>
            <a:ext cx="3600451" cy="686558"/>
          </a:xfrm>
          <a:custGeom>
            <a:avLst/>
            <a:gdLst>
              <a:gd name="T0" fmla="*/ 389816543 w 21600"/>
              <a:gd name="T1" fmla="*/ 0 h 21600"/>
              <a:gd name="T2" fmla="*/ 779633085 w 21600"/>
              <a:gd name="T3" fmla="*/ 4314422 h 21600"/>
              <a:gd name="T4" fmla="*/ 389816543 w 21600"/>
              <a:gd name="T5" fmla="*/ 8628843 h 21600"/>
              <a:gd name="T6" fmla="*/ 0 w 21600"/>
              <a:gd name="T7" fmla="*/ 4314422 h 21600"/>
              <a:gd name="T8" fmla="*/ 17694720 60000 65536"/>
              <a:gd name="T9" fmla="*/ 0 60000 65536"/>
              <a:gd name="T10" fmla="*/ 5898240 60000 65536"/>
              <a:gd name="T11" fmla="*/ 1179648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solidFill>
            <a:schemeClr val="accent1">
              <a:alpha val="68000"/>
            </a:schemeClr>
          </a:solidFill>
          <a:ln w="9363" cap="sq">
            <a:solidFill>
              <a:schemeClr val="bg1"/>
            </a:solidFill>
            <a:miter lim="800000"/>
            <a:headEnd/>
            <a:tailEnd/>
          </a:ln>
        </p:spPr>
        <p:txBody>
          <a:bodyPr wrap="none" lIns="90004" tIns="46798" rIns="90004" bIns="46798" anchor="ctr" anchorCtr="1"/>
          <a:lstStyle>
            <a:lvl1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1pPr>
            <a:lvl2pPr marL="742950" indent="-28575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2pPr>
            <a:lvl3pPr marL="1143000" indent="-2286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3pPr>
            <a:lvl4pPr marL="1600200" indent="-2286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4pPr>
            <a:lvl5pPr marL="2057400" indent="-2286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5pPr>
            <a:lvl6pPr marL="25146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6pPr>
            <a:lvl7pPr marL="29718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7pPr>
            <a:lvl8pPr marL="34290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8pPr>
            <a:lvl9pPr marL="38862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9pPr>
          </a:lstStyle>
          <a:p>
            <a:pPr algn="ctr" eaLnBrk="1"/>
            <a:r>
              <a:rPr lang="it-IT" altLang="it-IT" sz="2000" dirty="0">
                <a:latin typeface="+mn-lt"/>
                <a:ea typeface="MS Gothic" panose="020B0609070205080204" pitchFamily="49" charset="-128"/>
              </a:rPr>
              <a:t>Popolazione estesa*</a:t>
            </a:r>
          </a:p>
        </p:txBody>
      </p:sp>
      <p:graphicFrame>
        <p:nvGraphicFramePr>
          <p:cNvPr id="3" name="Oggetto 8">
            <a:extLst>
              <a:ext uri="{FF2B5EF4-FFF2-40B4-BE49-F238E27FC236}">
                <a16:creationId xmlns:a16="http://schemas.microsoft.com/office/drawing/2014/main" id="{89BDAF14-477F-A943-A050-D657E32BA769}"/>
              </a:ext>
            </a:extLst>
          </p:cNvPr>
          <p:cNvGraphicFramePr>
            <a:graphicFrameLocks noChangeAspect="1"/>
          </p:cNvGraphicFramePr>
          <p:nvPr>
            <p:extLst>
              <p:ext uri="{D42A27DB-BD31-4B8C-83A1-F6EECF244321}">
                <p14:modId xmlns:p14="http://schemas.microsoft.com/office/powerpoint/2010/main" val="2641453701"/>
              </p:ext>
            </p:extLst>
          </p:nvPr>
        </p:nvGraphicFramePr>
        <p:xfrm>
          <a:off x="3676407" y="117017"/>
          <a:ext cx="4739051" cy="1531665"/>
        </p:xfrm>
        <a:graphic>
          <a:graphicData uri="http://schemas.openxmlformats.org/drawingml/2006/chart">
            <c:chart xmlns:c="http://schemas.openxmlformats.org/drawingml/2006/chart" xmlns:r="http://schemas.openxmlformats.org/officeDocument/2006/relationships" r:id="rId6"/>
          </a:graphicData>
        </a:graphic>
      </p:graphicFrame>
      <p:sp>
        <p:nvSpPr>
          <p:cNvPr id="95240" name="Figura a mano libera 7">
            <a:extLst>
              <a:ext uri="{FF2B5EF4-FFF2-40B4-BE49-F238E27FC236}">
                <a16:creationId xmlns:a16="http://schemas.microsoft.com/office/drawing/2014/main" id="{DFD3A610-80A5-174C-A284-CC713F22C8AD}"/>
              </a:ext>
            </a:extLst>
          </p:cNvPr>
          <p:cNvSpPr>
            <a:spLocks/>
          </p:cNvSpPr>
          <p:nvPr/>
        </p:nvSpPr>
        <p:spPr bwMode="auto">
          <a:xfrm>
            <a:off x="2479809" y="4736201"/>
            <a:ext cx="3600450" cy="686558"/>
          </a:xfrm>
          <a:custGeom>
            <a:avLst/>
            <a:gdLst>
              <a:gd name="T0" fmla="*/ 389850265 w 21600"/>
              <a:gd name="T1" fmla="*/ 0 h 21600"/>
              <a:gd name="T2" fmla="*/ 779700530 w 21600"/>
              <a:gd name="T3" fmla="*/ 4318000 h 21600"/>
              <a:gd name="T4" fmla="*/ 389850265 w 21600"/>
              <a:gd name="T5" fmla="*/ 8635980 h 21600"/>
              <a:gd name="T6" fmla="*/ 0 w 21600"/>
              <a:gd name="T7" fmla="*/ 4318000 h 21600"/>
              <a:gd name="T8" fmla="*/ 17694720 60000 65536"/>
              <a:gd name="T9" fmla="*/ 0 60000 65536"/>
              <a:gd name="T10" fmla="*/ 5898240 60000 65536"/>
              <a:gd name="T11" fmla="*/ 1179648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solidFill>
            <a:schemeClr val="accent1">
              <a:lumMod val="20000"/>
              <a:lumOff val="80000"/>
            </a:schemeClr>
          </a:solidFill>
          <a:ln w="9363" cap="sq">
            <a:solidFill>
              <a:schemeClr val="bg1"/>
            </a:solidFill>
            <a:miter lim="800000"/>
            <a:headEnd/>
            <a:tailEnd/>
          </a:ln>
        </p:spPr>
        <p:txBody>
          <a:bodyPr wrap="none" lIns="90004" tIns="46798" rIns="90004" bIns="46798" anchor="ctr" anchorCtr="1"/>
          <a:lstStyle>
            <a:lvl1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1pPr>
            <a:lvl2pPr marL="742950" indent="-28575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2pPr>
            <a:lvl3pPr marL="1143000" indent="-2286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3pPr>
            <a:lvl4pPr marL="1600200" indent="-2286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4pPr>
            <a:lvl5pPr marL="2057400" indent="-2286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5pPr>
            <a:lvl6pPr marL="25146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6pPr>
            <a:lvl7pPr marL="29718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7pPr>
            <a:lvl8pPr marL="34290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8pPr>
            <a:lvl9pPr marL="38862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9pPr>
          </a:lstStyle>
          <a:p>
            <a:pPr algn="ctr" eaLnBrk="1"/>
            <a:r>
              <a:rPr lang="it-IT" altLang="it-IT" sz="2000">
                <a:latin typeface="+mn-lt"/>
                <a:ea typeface="MS Gothic" panose="020B0609070205080204" pitchFamily="49" charset="-128"/>
              </a:rPr>
              <a:t>Errori di somministrazione</a:t>
            </a:r>
          </a:p>
        </p:txBody>
      </p:sp>
      <p:sp>
        <p:nvSpPr>
          <p:cNvPr id="95242" name="Connettore diritto 9">
            <a:extLst>
              <a:ext uri="{FF2B5EF4-FFF2-40B4-BE49-F238E27FC236}">
                <a16:creationId xmlns:a16="http://schemas.microsoft.com/office/drawing/2014/main" id="{5FA975CA-66F9-6349-B669-27B1F7051EFD}"/>
              </a:ext>
            </a:extLst>
          </p:cNvPr>
          <p:cNvSpPr>
            <a:spLocks/>
          </p:cNvSpPr>
          <p:nvPr/>
        </p:nvSpPr>
        <p:spPr bwMode="auto">
          <a:xfrm flipH="1">
            <a:off x="8269425" y="1328325"/>
            <a:ext cx="360363" cy="287338"/>
          </a:xfrm>
          <a:custGeom>
            <a:avLst/>
            <a:gdLst>
              <a:gd name="T0" fmla="*/ 180182 w 360355"/>
              <a:gd name="T1" fmla="*/ 0 h 287642"/>
              <a:gd name="T2" fmla="*/ 360363 w 360355"/>
              <a:gd name="T3" fmla="*/ 143669 h 287642"/>
              <a:gd name="T4" fmla="*/ 180182 w 360355"/>
              <a:gd name="T5" fmla="*/ 287338 h 287642"/>
              <a:gd name="T6" fmla="*/ 0 w 360355"/>
              <a:gd name="T7" fmla="*/ 143669 h 287642"/>
              <a:gd name="T8" fmla="*/ 0 w 360355"/>
              <a:gd name="T9" fmla="*/ 0 h 287642"/>
              <a:gd name="T10" fmla="*/ 360363 w 360355"/>
              <a:gd name="T11" fmla="*/ 287338 h 287642"/>
              <a:gd name="T12" fmla="*/ 17694720 60000 65536"/>
              <a:gd name="T13" fmla="*/ 0 60000 65536"/>
              <a:gd name="T14" fmla="*/ 5898240 60000 65536"/>
              <a:gd name="T15" fmla="*/ 11796480 60000 65536"/>
              <a:gd name="T16" fmla="*/ 5898240 60000 65536"/>
              <a:gd name="T17" fmla="*/ 17694720 60000 65536"/>
              <a:gd name="T18" fmla="*/ 0 w 360355"/>
              <a:gd name="T19" fmla="*/ 0 h 287642"/>
              <a:gd name="T20" fmla="*/ 360355 w 360355"/>
              <a:gd name="T21" fmla="*/ 287642 h 287642"/>
            </a:gdLst>
            <a:ahLst/>
            <a:cxnLst>
              <a:cxn ang="T12">
                <a:pos x="T0" y="T1"/>
              </a:cxn>
              <a:cxn ang="T13">
                <a:pos x="T2" y="T3"/>
              </a:cxn>
              <a:cxn ang="T14">
                <a:pos x="T4" y="T5"/>
              </a:cxn>
              <a:cxn ang="T15">
                <a:pos x="T6" y="T7"/>
              </a:cxn>
              <a:cxn ang="T16">
                <a:pos x="T8" y="T9"/>
              </a:cxn>
              <a:cxn ang="T17">
                <a:pos x="T10" y="T11"/>
              </a:cxn>
            </a:cxnLst>
            <a:rect l="T18" t="T19" r="T20" b="T21"/>
            <a:pathLst>
              <a:path w="360355" h="287642">
                <a:moveTo>
                  <a:pt x="0" y="0"/>
                </a:moveTo>
                <a:lnTo>
                  <a:pt x="360355" y="287642"/>
                </a:lnTo>
              </a:path>
            </a:pathLst>
          </a:custGeom>
          <a:noFill/>
          <a:ln w="28437" cap="sq">
            <a:solidFill>
              <a:schemeClr val="tx1"/>
            </a:solidFill>
            <a:prstDash val="solid"/>
            <a:miter lim="800000"/>
            <a:headEnd/>
            <a:tailEnd type="arrow" w="med" len="med"/>
          </a:ln>
          <a:extLst>
            <a:ext uri="{909E8E84-426E-40DD-AFC4-6F175D3DCCD1}">
              <a14:hiddenFill xmlns:a14="http://schemas.microsoft.com/office/drawing/2010/main">
                <a:solidFill>
                  <a:srgbClr val="FFFFFF"/>
                </a:solidFill>
              </a14:hiddenFill>
            </a:ext>
          </a:extLst>
        </p:spPr>
        <p:txBody>
          <a:bodyPr lIns="90004" tIns="46798" rIns="90004" bIns="46798"/>
          <a:lstStyle/>
          <a:p>
            <a:endParaRPr lang="it-IT" dirty="0"/>
          </a:p>
        </p:txBody>
      </p:sp>
      <p:sp>
        <p:nvSpPr>
          <p:cNvPr id="95246" name="Figura a mano libera 13">
            <a:extLst>
              <a:ext uri="{FF2B5EF4-FFF2-40B4-BE49-F238E27FC236}">
                <a16:creationId xmlns:a16="http://schemas.microsoft.com/office/drawing/2014/main" id="{1176FD0B-2D46-6348-9EC4-9CFDD3A61E7F}"/>
              </a:ext>
            </a:extLst>
          </p:cNvPr>
          <p:cNvSpPr>
            <a:spLocks/>
          </p:cNvSpPr>
          <p:nvPr/>
        </p:nvSpPr>
        <p:spPr bwMode="auto">
          <a:xfrm rot="10799991">
            <a:off x="9625013" y="1565259"/>
            <a:ext cx="577850" cy="371509"/>
          </a:xfrm>
          <a:custGeom>
            <a:avLst/>
            <a:gdLst>
              <a:gd name="T0" fmla="*/ 7728744 w 21600"/>
              <a:gd name="T1" fmla="*/ 0 h 21600"/>
              <a:gd name="T2" fmla="*/ 15457487 w 21600"/>
              <a:gd name="T3" fmla="*/ 36225427 h 21600"/>
              <a:gd name="T4" fmla="*/ 7728744 w 21600"/>
              <a:gd name="T5" fmla="*/ 72450796 h 21600"/>
              <a:gd name="T6" fmla="*/ 0 w 21600"/>
              <a:gd name="T7" fmla="*/ 36225427 h 21600"/>
              <a:gd name="T8" fmla="*/ 17694720 60000 65536"/>
              <a:gd name="T9" fmla="*/ 0 60000 65536"/>
              <a:gd name="T10" fmla="*/ 5898240 60000 65536"/>
              <a:gd name="T11" fmla="*/ 1179648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21600"/>
                </a:moveTo>
                <a:lnTo>
                  <a:pt x="0" y="12160"/>
                </a:lnTo>
                <a:cubicBezTo>
                  <a:pt x="0" y="7045"/>
                  <a:pt x="5563" y="2900"/>
                  <a:pt x="12426" y="2900"/>
                </a:cubicBezTo>
                <a:lnTo>
                  <a:pt x="15100" y="2900"/>
                </a:lnTo>
                <a:lnTo>
                  <a:pt x="15100" y="0"/>
                </a:lnTo>
                <a:lnTo>
                  <a:pt x="21600" y="6079"/>
                </a:lnTo>
                <a:lnTo>
                  <a:pt x="15100" y="12158"/>
                </a:lnTo>
                <a:lnTo>
                  <a:pt x="15100" y="9258"/>
                </a:lnTo>
                <a:lnTo>
                  <a:pt x="12427" y="9258"/>
                </a:lnTo>
                <a:cubicBezTo>
                  <a:pt x="9075" y="9258"/>
                  <a:pt x="6358" y="10557"/>
                  <a:pt x="6358" y="12160"/>
                </a:cubicBezTo>
                <a:lnTo>
                  <a:pt x="6358" y="21600"/>
                </a:lnTo>
                <a:lnTo>
                  <a:pt x="0" y="21600"/>
                </a:lnTo>
                <a:close/>
              </a:path>
            </a:pathLst>
          </a:custGeom>
          <a:solidFill>
            <a:srgbClr val="FFFFFF"/>
          </a:solidFill>
          <a:ln>
            <a:noFill/>
          </a:ln>
          <a:extLst>
            <a:ext uri="{91240B29-F687-4F45-9708-019B960494DF}">
              <a14:hiddenLine xmlns:a14="http://schemas.microsoft.com/office/drawing/2010/main" w="9525" cap="flat">
                <a:solidFill>
                  <a:srgbClr val="000000"/>
                </a:solidFill>
                <a:prstDash val="solid"/>
                <a:round/>
                <a:headEnd/>
                <a:tailEnd/>
              </a14:hiddenLine>
            </a:ext>
          </a:extLst>
        </p:spPr>
        <p:txBody>
          <a:bodyPr lIns="90004" tIns="46798" rIns="90004" bIns="46798" anchor="ctr">
            <a:spAutoFit/>
          </a:bodyPr>
          <a:lstStyle/>
          <a:p>
            <a:endParaRPr lang="it-IT"/>
          </a:p>
        </p:txBody>
      </p:sp>
      <p:sp>
        <p:nvSpPr>
          <p:cNvPr id="95247" name="Figura a mano libera 14">
            <a:extLst>
              <a:ext uri="{FF2B5EF4-FFF2-40B4-BE49-F238E27FC236}">
                <a16:creationId xmlns:a16="http://schemas.microsoft.com/office/drawing/2014/main" id="{A236E0A0-071A-704F-9962-F9D31F1AA8A2}"/>
              </a:ext>
            </a:extLst>
          </p:cNvPr>
          <p:cNvSpPr>
            <a:spLocks/>
          </p:cNvSpPr>
          <p:nvPr/>
        </p:nvSpPr>
        <p:spPr bwMode="auto">
          <a:xfrm rot="10799991">
            <a:off x="8759826" y="2594753"/>
            <a:ext cx="576263" cy="371509"/>
          </a:xfrm>
          <a:custGeom>
            <a:avLst/>
            <a:gdLst>
              <a:gd name="T0" fmla="*/ 7683480 w 21600"/>
              <a:gd name="T1" fmla="*/ 0 h 21600"/>
              <a:gd name="T2" fmla="*/ 15366960 w 21600"/>
              <a:gd name="T3" fmla="*/ 23521423 h 21600"/>
              <a:gd name="T4" fmla="*/ 7683480 w 21600"/>
              <a:gd name="T5" fmla="*/ 47042800 h 21600"/>
              <a:gd name="T6" fmla="*/ 0 w 21600"/>
              <a:gd name="T7" fmla="*/ 23521423 h 21600"/>
              <a:gd name="T8" fmla="*/ 17694720 60000 65536"/>
              <a:gd name="T9" fmla="*/ 0 60000 65536"/>
              <a:gd name="T10" fmla="*/ 5898240 60000 65536"/>
              <a:gd name="T11" fmla="*/ 1179648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21600"/>
                </a:moveTo>
                <a:lnTo>
                  <a:pt x="0" y="12160"/>
                </a:lnTo>
                <a:cubicBezTo>
                  <a:pt x="0" y="7045"/>
                  <a:pt x="5563" y="2900"/>
                  <a:pt x="12426" y="2900"/>
                </a:cubicBezTo>
                <a:lnTo>
                  <a:pt x="15100" y="2900"/>
                </a:lnTo>
                <a:lnTo>
                  <a:pt x="15100" y="0"/>
                </a:lnTo>
                <a:lnTo>
                  <a:pt x="21600" y="6079"/>
                </a:lnTo>
                <a:lnTo>
                  <a:pt x="15100" y="12158"/>
                </a:lnTo>
                <a:lnTo>
                  <a:pt x="15100" y="9258"/>
                </a:lnTo>
                <a:lnTo>
                  <a:pt x="12427" y="9258"/>
                </a:lnTo>
                <a:cubicBezTo>
                  <a:pt x="9075" y="9258"/>
                  <a:pt x="6358" y="10557"/>
                  <a:pt x="6358" y="12160"/>
                </a:cubicBezTo>
                <a:lnTo>
                  <a:pt x="6358" y="21600"/>
                </a:lnTo>
                <a:lnTo>
                  <a:pt x="0" y="21600"/>
                </a:lnTo>
                <a:close/>
              </a:path>
            </a:pathLst>
          </a:custGeom>
          <a:solidFill>
            <a:srgbClr val="FFFFFF"/>
          </a:solidFill>
          <a:ln>
            <a:noFill/>
          </a:ln>
          <a:extLst>
            <a:ext uri="{91240B29-F687-4F45-9708-019B960494DF}">
              <a14:hiddenLine xmlns:a14="http://schemas.microsoft.com/office/drawing/2010/main" w="9525" cap="flat">
                <a:solidFill>
                  <a:srgbClr val="000000"/>
                </a:solidFill>
                <a:prstDash val="solid"/>
                <a:round/>
                <a:headEnd/>
                <a:tailEnd/>
              </a14:hiddenLine>
            </a:ext>
          </a:extLst>
        </p:spPr>
        <p:txBody>
          <a:bodyPr lIns="90004" tIns="46798" rIns="90004" bIns="46798" anchor="ctr">
            <a:spAutoFit/>
          </a:bodyPr>
          <a:lstStyle/>
          <a:p>
            <a:endParaRPr lang="it-IT"/>
          </a:p>
        </p:txBody>
      </p:sp>
      <p:sp>
        <p:nvSpPr>
          <p:cNvPr id="95248" name="Figura a mano libera 15">
            <a:extLst>
              <a:ext uri="{FF2B5EF4-FFF2-40B4-BE49-F238E27FC236}">
                <a16:creationId xmlns:a16="http://schemas.microsoft.com/office/drawing/2014/main" id="{43D4D785-46C0-0B44-8741-128905FD0C57}"/>
              </a:ext>
            </a:extLst>
          </p:cNvPr>
          <p:cNvSpPr>
            <a:spLocks/>
          </p:cNvSpPr>
          <p:nvPr/>
        </p:nvSpPr>
        <p:spPr bwMode="auto">
          <a:xfrm rot="10799991">
            <a:off x="7608888" y="3602815"/>
            <a:ext cx="576262" cy="371509"/>
          </a:xfrm>
          <a:custGeom>
            <a:avLst/>
            <a:gdLst>
              <a:gd name="T0" fmla="*/ 7688242 w 21600"/>
              <a:gd name="T1" fmla="*/ 0 h 21600"/>
              <a:gd name="T2" fmla="*/ 15376458 w 21600"/>
              <a:gd name="T3" fmla="*/ 23521400 h 21600"/>
              <a:gd name="T4" fmla="*/ 7688242 w 21600"/>
              <a:gd name="T5" fmla="*/ 47042753 h 21600"/>
              <a:gd name="T6" fmla="*/ 0 w 21600"/>
              <a:gd name="T7" fmla="*/ 23521400 h 21600"/>
              <a:gd name="T8" fmla="*/ 17694720 60000 65536"/>
              <a:gd name="T9" fmla="*/ 0 60000 65536"/>
              <a:gd name="T10" fmla="*/ 5898240 60000 65536"/>
              <a:gd name="T11" fmla="*/ 1179648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21600"/>
                </a:moveTo>
                <a:lnTo>
                  <a:pt x="0" y="12160"/>
                </a:lnTo>
                <a:cubicBezTo>
                  <a:pt x="0" y="7045"/>
                  <a:pt x="5563" y="2900"/>
                  <a:pt x="12426" y="2900"/>
                </a:cubicBezTo>
                <a:lnTo>
                  <a:pt x="15100" y="2900"/>
                </a:lnTo>
                <a:lnTo>
                  <a:pt x="15100" y="0"/>
                </a:lnTo>
                <a:lnTo>
                  <a:pt x="21600" y="6079"/>
                </a:lnTo>
                <a:lnTo>
                  <a:pt x="15100" y="12158"/>
                </a:lnTo>
                <a:lnTo>
                  <a:pt x="15100" y="9258"/>
                </a:lnTo>
                <a:lnTo>
                  <a:pt x="12427" y="9258"/>
                </a:lnTo>
                <a:cubicBezTo>
                  <a:pt x="9075" y="9258"/>
                  <a:pt x="6358" y="10557"/>
                  <a:pt x="6358" y="12160"/>
                </a:cubicBezTo>
                <a:lnTo>
                  <a:pt x="6358" y="21600"/>
                </a:lnTo>
                <a:lnTo>
                  <a:pt x="0" y="21600"/>
                </a:lnTo>
                <a:close/>
              </a:path>
            </a:pathLst>
          </a:custGeom>
          <a:solidFill>
            <a:srgbClr val="FFFFFF"/>
          </a:solidFill>
          <a:ln>
            <a:noFill/>
          </a:ln>
          <a:extLst>
            <a:ext uri="{91240B29-F687-4F45-9708-019B960494DF}">
              <a14:hiddenLine xmlns:a14="http://schemas.microsoft.com/office/drawing/2010/main" w="9525" cap="flat">
                <a:solidFill>
                  <a:srgbClr val="000000"/>
                </a:solidFill>
                <a:prstDash val="solid"/>
                <a:round/>
                <a:headEnd/>
                <a:tailEnd/>
              </a14:hiddenLine>
            </a:ext>
          </a:extLst>
        </p:spPr>
        <p:txBody>
          <a:bodyPr lIns="90004" tIns="46798" rIns="90004" bIns="46798" anchor="ctr">
            <a:spAutoFit/>
          </a:bodyPr>
          <a:lstStyle/>
          <a:p>
            <a:endParaRPr lang="it-IT"/>
          </a:p>
        </p:txBody>
      </p:sp>
      <p:sp>
        <p:nvSpPr>
          <p:cNvPr id="95250" name="Figura a mano libera 17">
            <a:extLst>
              <a:ext uri="{FF2B5EF4-FFF2-40B4-BE49-F238E27FC236}">
                <a16:creationId xmlns:a16="http://schemas.microsoft.com/office/drawing/2014/main" id="{79D7D28D-00F1-8642-8A0D-998A1677D8C2}"/>
              </a:ext>
            </a:extLst>
          </p:cNvPr>
          <p:cNvSpPr>
            <a:spLocks/>
          </p:cNvSpPr>
          <p:nvPr/>
        </p:nvSpPr>
        <p:spPr bwMode="auto">
          <a:xfrm rot="10799991">
            <a:off x="6527801" y="4610878"/>
            <a:ext cx="576263" cy="371509"/>
          </a:xfrm>
          <a:custGeom>
            <a:avLst/>
            <a:gdLst>
              <a:gd name="T0" fmla="*/ 7688256 w 21600"/>
              <a:gd name="T1" fmla="*/ 0 h 21600"/>
              <a:gd name="T2" fmla="*/ 15376484 w 21600"/>
              <a:gd name="T3" fmla="*/ 23521423 h 21600"/>
              <a:gd name="T4" fmla="*/ 7688256 w 21600"/>
              <a:gd name="T5" fmla="*/ 47042800 h 21600"/>
              <a:gd name="T6" fmla="*/ 0 w 21600"/>
              <a:gd name="T7" fmla="*/ 23521423 h 21600"/>
              <a:gd name="T8" fmla="*/ 17694720 60000 65536"/>
              <a:gd name="T9" fmla="*/ 0 60000 65536"/>
              <a:gd name="T10" fmla="*/ 5898240 60000 65536"/>
              <a:gd name="T11" fmla="*/ 1179648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21600"/>
                </a:moveTo>
                <a:lnTo>
                  <a:pt x="0" y="12160"/>
                </a:lnTo>
                <a:cubicBezTo>
                  <a:pt x="0" y="7045"/>
                  <a:pt x="5563" y="2900"/>
                  <a:pt x="12426" y="2900"/>
                </a:cubicBezTo>
                <a:lnTo>
                  <a:pt x="15100" y="2900"/>
                </a:lnTo>
                <a:lnTo>
                  <a:pt x="15100" y="0"/>
                </a:lnTo>
                <a:lnTo>
                  <a:pt x="21600" y="6079"/>
                </a:lnTo>
                <a:lnTo>
                  <a:pt x="15100" y="12158"/>
                </a:lnTo>
                <a:lnTo>
                  <a:pt x="15100" y="9258"/>
                </a:lnTo>
                <a:lnTo>
                  <a:pt x="12427" y="9258"/>
                </a:lnTo>
                <a:cubicBezTo>
                  <a:pt x="9075" y="9258"/>
                  <a:pt x="6358" y="10557"/>
                  <a:pt x="6358" y="12160"/>
                </a:cubicBezTo>
                <a:lnTo>
                  <a:pt x="6358" y="21600"/>
                </a:lnTo>
                <a:lnTo>
                  <a:pt x="0" y="21600"/>
                </a:lnTo>
                <a:close/>
              </a:path>
            </a:pathLst>
          </a:custGeom>
          <a:solidFill>
            <a:srgbClr val="FFFFFF"/>
          </a:solidFill>
          <a:ln>
            <a:noFill/>
          </a:ln>
          <a:extLst>
            <a:ext uri="{91240B29-F687-4F45-9708-019B960494DF}">
              <a14:hiddenLine xmlns:a14="http://schemas.microsoft.com/office/drawing/2010/main" w="9525" cap="flat">
                <a:solidFill>
                  <a:srgbClr val="000000"/>
                </a:solidFill>
                <a:prstDash val="solid"/>
                <a:round/>
                <a:headEnd/>
                <a:tailEnd/>
              </a14:hiddenLine>
            </a:ext>
          </a:extLst>
        </p:spPr>
        <p:txBody>
          <a:bodyPr lIns="90004" tIns="46798" rIns="90004" bIns="46798" anchor="ctr">
            <a:spAutoFit/>
          </a:bodyPr>
          <a:lstStyle/>
          <a:p>
            <a:endParaRPr lang="it-IT"/>
          </a:p>
        </p:txBody>
      </p:sp>
      <p:sp>
        <p:nvSpPr>
          <p:cNvPr id="23" name="Connettore diritto 9">
            <a:extLst>
              <a:ext uri="{FF2B5EF4-FFF2-40B4-BE49-F238E27FC236}">
                <a16:creationId xmlns:a16="http://schemas.microsoft.com/office/drawing/2014/main" id="{D00A5C28-2745-2F4A-9F3A-66F10D1952F0}"/>
              </a:ext>
            </a:extLst>
          </p:cNvPr>
          <p:cNvSpPr>
            <a:spLocks/>
          </p:cNvSpPr>
          <p:nvPr/>
        </p:nvSpPr>
        <p:spPr bwMode="auto">
          <a:xfrm flipH="1">
            <a:off x="7161345" y="2398571"/>
            <a:ext cx="360363" cy="287338"/>
          </a:xfrm>
          <a:custGeom>
            <a:avLst/>
            <a:gdLst>
              <a:gd name="T0" fmla="*/ 180182 w 360355"/>
              <a:gd name="T1" fmla="*/ 0 h 287642"/>
              <a:gd name="T2" fmla="*/ 360363 w 360355"/>
              <a:gd name="T3" fmla="*/ 143669 h 287642"/>
              <a:gd name="T4" fmla="*/ 180182 w 360355"/>
              <a:gd name="T5" fmla="*/ 287338 h 287642"/>
              <a:gd name="T6" fmla="*/ 0 w 360355"/>
              <a:gd name="T7" fmla="*/ 143669 h 287642"/>
              <a:gd name="T8" fmla="*/ 0 w 360355"/>
              <a:gd name="T9" fmla="*/ 0 h 287642"/>
              <a:gd name="T10" fmla="*/ 360363 w 360355"/>
              <a:gd name="T11" fmla="*/ 287338 h 287642"/>
              <a:gd name="T12" fmla="*/ 17694720 60000 65536"/>
              <a:gd name="T13" fmla="*/ 0 60000 65536"/>
              <a:gd name="T14" fmla="*/ 5898240 60000 65536"/>
              <a:gd name="T15" fmla="*/ 11796480 60000 65536"/>
              <a:gd name="T16" fmla="*/ 5898240 60000 65536"/>
              <a:gd name="T17" fmla="*/ 17694720 60000 65536"/>
              <a:gd name="T18" fmla="*/ 0 w 360355"/>
              <a:gd name="T19" fmla="*/ 0 h 287642"/>
              <a:gd name="T20" fmla="*/ 360355 w 360355"/>
              <a:gd name="T21" fmla="*/ 287642 h 287642"/>
            </a:gdLst>
            <a:ahLst/>
            <a:cxnLst>
              <a:cxn ang="T12">
                <a:pos x="T0" y="T1"/>
              </a:cxn>
              <a:cxn ang="T13">
                <a:pos x="T2" y="T3"/>
              </a:cxn>
              <a:cxn ang="T14">
                <a:pos x="T4" y="T5"/>
              </a:cxn>
              <a:cxn ang="T15">
                <a:pos x="T6" y="T7"/>
              </a:cxn>
              <a:cxn ang="T16">
                <a:pos x="T8" y="T9"/>
              </a:cxn>
              <a:cxn ang="T17">
                <a:pos x="T10" y="T11"/>
              </a:cxn>
            </a:cxnLst>
            <a:rect l="T18" t="T19" r="T20" b="T21"/>
            <a:pathLst>
              <a:path w="360355" h="287642">
                <a:moveTo>
                  <a:pt x="0" y="0"/>
                </a:moveTo>
                <a:lnTo>
                  <a:pt x="360355" y="287642"/>
                </a:lnTo>
              </a:path>
            </a:pathLst>
          </a:custGeom>
          <a:noFill/>
          <a:ln w="28437" cap="sq">
            <a:solidFill>
              <a:schemeClr val="tx1"/>
            </a:solidFill>
            <a:prstDash val="solid"/>
            <a:miter lim="800000"/>
            <a:headEnd/>
            <a:tailEnd type="arrow" w="med" len="med"/>
          </a:ln>
          <a:extLst>
            <a:ext uri="{909E8E84-426E-40DD-AFC4-6F175D3DCCD1}">
              <a14:hiddenFill xmlns:a14="http://schemas.microsoft.com/office/drawing/2010/main">
                <a:solidFill>
                  <a:srgbClr val="FFFFFF"/>
                </a:solidFill>
              </a14:hiddenFill>
            </a:ext>
          </a:extLst>
        </p:spPr>
        <p:txBody>
          <a:bodyPr lIns="90004" tIns="46798" rIns="90004" bIns="46798"/>
          <a:lstStyle/>
          <a:p>
            <a:endParaRPr lang="it-IT" dirty="0"/>
          </a:p>
        </p:txBody>
      </p:sp>
      <p:sp>
        <p:nvSpPr>
          <p:cNvPr id="26" name="Connettore diritto 9">
            <a:extLst>
              <a:ext uri="{FF2B5EF4-FFF2-40B4-BE49-F238E27FC236}">
                <a16:creationId xmlns:a16="http://schemas.microsoft.com/office/drawing/2014/main" id="{2AB4A01E-5237-3341-BE41-30545CE9D60D}"/>
              </a:ext>
            </a:extLst>
          </p:cNvPr>
          <p:cNvSpPr>
            <a:spLocks/>
          </p:cNvSpPr>
          <p:nvPr/>
        </p:nvSpPr>
        <p:spPr bwMode="auto">
          <a:xfrm flipH="1">
            <a:off x="6073119" y="3421641"/>
            <a:ext cx="360363" cy="287338"/>
          </a:xfrm>
          <a:custGeom>
            <a:avLst/>
            <a:gdLst>
              <a:gd name="T0" fmla="*/ 180182 w 360355"/>
              <a:gd name="T1" fmla="*/ 0 h 287642"/>
              <a:gd name="T2" fmla="*/ 360363 w 360355"/>
              <a:gd name="T3" fmla="*/ 143669 h 287642"/>
              <a:gd name="T4" fmla="*/ 180182 w 360355"/>
              <a:gd name="T5" fmla="*/ 287338 h 287642"/>
              <a:gd name="T6" fmla="*/ 0 w 360355"/>
              <a:gd name="T7" fmla="*/ 143669 h 287642"/>
              <a:gd name="T8" fmla="*/ 0 w 360355"/>
              <a:gd name="T9" fmla="*/ 0 h 287642"/>
              <a:gd name="T10" fmla="*/ 360363 w 360355"/>
              <a:gd name="T11" fmla="*/ 287338 h 287642"/>
              <a:gd name="T12" fmla="*/ 17694720 60000 65536"/>
              <a:gd name="T13" fmla="*/ 0 60000 65536"/>
              <a:gd name="T14" fmla="*/ 5898240 60000 65536"/>
              <a:gd name="T15" fmla="*/ 11796480 60000 65536"/>
              <a:gd name="T16" fmla="*/ 5898240 60000 65536"/>
              <a:gd name="T17" fmla="*/ 17694720 60000 65536"/>
              <a:gd name="T18" fmla="*/ 0 w 360355"/>
              <a:gd name="T19" fmla="*/ 0 h 287642"/>
              <a:gd name="T20" fmla="*/ 360355 w 360355"/>
              <a:gd name="T21" fmla="*/ 287642 h 287642"/>
            </a:gdLst>
            <a:ahLst/>
            <a:cxnLst>
              <a:cxn ang="T12">
                <a:pos x="T0" y="T1"/>
              </a:cxn>
              <a:cxn ang="T13">
                <a:pos x="T2" y="T3"/>
              </a:cxn>
              <a:cxn ang="T14">
                <a:pos x="T4" y="T5"/>
              </a:cxn>
              <a:cxn ang="T15">
                <a:pos x="T6" y="T7"/>
              </a:cxn>
              <a:cxn ang="T16">
                <a:pos x="T8" y="T9"/>
              </a:cxn>
              <a:cxn ang="T17">
                <a:pos x="T10" y="T11"/>
              </a:cxn>
            </a:cxnLst>
            <a:rect l="T18" t="T19" r="T20" b="T21"/>
            <a:pathLst>
              <a:path w="360355" h="287642">
                <a:moveTo>
                  <a:pt x="0" y="0"/>
                </a:moveTo>
                <a:lnTo>
                  <a:pt x="360355" y="287642"/>
                </a:lnTo>
              </a:path>
            </a:pathLst>
          </a:custGeom>
          <a:noFill/>
          <a:ln w="28437" cap="sq">
            <a:solidFill>
              <a:schemeClr val="tx1"/>
            </a:solidFill>
            <a:prstDash val="solid"/>
            <a:miter lim="800000"/>
            <a:headEnd/>
            <a:tailEnd type="arrow" w="med" len="med"/>
          </a:ln>
          <a:extLst>
            <a:ext uri="{909E8E84-426E-40DD-AFC4-6F175D3DCCD1}">
              <a14:hiddenFill xmlns:a14="http://schemas.microsoft.com/office/drawing/2010/main">
                <a:solidFill>
                  <a:srgbClr val="FFFFFF"/>
                </a:solidFill>
              </a14:hiddenFill>
            </a:ext>
          </a:extLst>
        </p:spPr>
        <p:txBody>
          <a:bodyPr lIns="90004" tIns="46798" rIns="90004" bIns="46798"/>
          <a:lstStyle/>
          <a:p>
            <a:endParaRPr lang="it-IT" dirty="0"/>
          </a:p>
        </p:txBody>
      </p:sp>
      <p:sp>
        <p:nvSpPr>
          <p:cNvPr id="27" name="Connettore diritto 9">
            <a:extLst>
              <a:ext uri="{FF2B5EF4-FFF2-40B4-BE49-F238E27FC236}">
                <a16:creationId xmlns:a16="http://schemas.microsoft.com/office/drawing/2014/main" id="{88072A28-8B64-0645-8141-03225FCC0082}"/>
              </a:ext>
            </a:extLst>
          </p:cNvPr>
          <p:cNvSpPr>
            <a:spLocks/>
          </p:cNvSpPr>
          <p:nvPr/>
        </p:nvSpPr>
        <p:spPr bwMode="auto">
          <a:xfrm flipH="1">
            <a:off x="4827172" y="4446581"/>
            <a:ext cx="360363" cy="287338"/>
          </a:xfrm>
          <a:custGeom>
            <a:avLst/>
            <a:gdLst>
              <a:gd name="T0" fmla="*/ 180182 w 360355"/>
              <a:gd name="T1" fmla="*/ 0 h 287642"/>
              <a:gd name="T2" fmla="*/ 360363 w 360355"/>
              <a:gd name="T3" fmla="*/ 143669 h 287642"/>
              <a:gd name="T4" fmla="*/ 180182 w 360355"/>
              <a:gd name="T5" fmla="*/ 287338 h 287642"/>
              <a:gd name="T6" fmla="*/ 0 w 360355"/>
              <a:gd name="T7" fmla="*/ 143669 h 287642"/>
              <a:gd name="T8" fmla="*/ 0 w 360355"/>
              <a:gd name="T9" fmla="*/ 0 h 287642"/>
              <a:gd name="T10" fmla="*/ 360363 w 360355"/>
              <a:gd name="T11" fmla="*/ 287338 h 287642"/>
              <a:gd name="T12" fmla="*/ 17694720 60000 65536"/>
              <a:gd name="T13" fmla="*/ 0 60000 65536"/>
              <a:gd name="T14" fmla="*/ 5898240 60000 65536"/>
              <a:gd name="T15" fmla="*/ 11796480 60000 65536"/>
              <a:gd name="T16" fmla="*/ 5898240 60000 65536"/>
              <a:gd name="T17" fmla="*/ 17694720 60000 65536"/>
              <a:gd name="T18" fmla="*/ 0 w 360355"/>
              <a:gd name="T19" fmla="*/ 0 h 287642"/>
              <a:gd name="T20" fmla="*/ 360355 w 360355"/>
              <a:gd name="T21" fmla="*/ 287642 h 287642"/>
            </a:gdLst>
            <a:ahLst/>
            <a:cxnLst>
              <a:cxn ang="T12">
                <a:pos x="T0" y="T1"/>
              </a:cxn>
              <a:cxn ang="T13">
                <a:pos x="T2" y="T3"/>
              </a:cxn>
              <a:cxn ang="T14">
                <a:pos x="T4" y="T5"/>
              </a:cxn>
              <a:cxn ang="T15">
                <a:pos x="T6" y="T7"/>
              </a:cxn>
              <a:cxn ang="T16">
                <a:pos x="T8" y="T9"/>
              </a:cxn>
              <a:cxn ang="T17">
                <a:pos x="T10" y="T11"/>
              </a:cxn>
            </a:cxnLst>
            <a:rect l="T18" t="T19" r="T20" b="T21"/>
            <a:pathLst>
              <a:path w="360355" h="287642">
                <a:moveTo>
                  <a:pt x="0" y="0"/>
                </a:moveTo>
                <a:lnTo>
                  <a:pt x="360355" y="287642"/>
                </a:lnTo>
              </a:path>
            </a:pathLst>
          </a:custGeom>
          <a:noFill/>
          <a:ln w="28437" cap="sq">
            <a:solidFill>
              <a:schemeClr val="tx1"/>
            </a:solidFill>
            <a:prstDash val="solid"/>
            <a:miter lim="800000"/>
            <a:headEnd/>
            <a:tailEnd type="arrow" w="med" len="med"/>
          </a:ln>
          <a:extLst>
            <a:ext uri="{909E8E84-426E-40DD-AFC4-6F175D3DCCD1}">
              <a14:hiddenFill xmlns:a14="http://schemas.microsoft.com/office/drawing/2010/main">
                <a:solidFill>
                  <a:srgbClr val="FFFFFF"/>
                </a:solidFill>
              </a14:hiddenFill>
            </a:ext>
          </a:extLst>
        </p:spPr>
        <p:txBody>
          <a:bodyPr lIns="90004" tIns="46798" rIns="90004" bIns="46798"/>
          <a:lstStyle/>
          <a:p>
            <a:endParaRPr lang="it-IT" dirty="0"/>
          </a:p>
        </p:txBody>
      </p:sp>
      <p:sp>
        <p:nvSpPr>
          <p:cNvPr id="28" name="Connettore diritto 9">
            <a:extLst>
              <a:ext uri="{FF2B5EF4-FFF2-40B4-BE49-F238E27FC236}">
                <a16:creationId xmlns:a16="http://schemas.microsoft.com/office/drawing/2014/main" id="{CE101422-697E-B248-8529-5B53FBEAD410}"/>
              </a:ext>
            </a:extLst>
          </p:cNvPr>
          <p:cNvSpPr>
            <a:spLocks/>
          </p:cNvSpPr>
          <p:nvPr/>
        </p:nvSpPr>
        <p:spPr bwMode="auto">
          <a:xfrm flipH="1">
            <a:off x="3680036" y="5391612"/>
            <a:ext cx="360363" cy="287338"/>
          </a:xfrm>
          <a:custGeom>
            <a:avLst/>
            <a:gdLst>
              <a:gd name="T0" fmla="*/ 180182 w 360355"/>
              <a:gd name="T1" fmla="*/ 0 h 287642"/>
              <a:gd name="T2" fmla="*/ 360363 w 360355"/>
              <a:gd name="T3" fmla="*/ 143669 h 287642"/>
              <a:gd name="T4" fmla="*/ 180182 w 360355"/>
              <a:gd name="T5" fmla="*/ 287338 h 287642"/>
              <a:gd name="T6" fmla="*/ 0 w 360355"/>
              <a:gd name="T7" fmla="*/ 143669 h 287642"/>
              <a:gd name="T8" fmla="*/ 0 w 360355"/>
              <a:gd name="T9" fmla="*/ 0 h 287642"/>
              <a:gd name="T10" fmla="*/ 360363 w 360355"/>
              <a:gd name="T11" fmla="*/ 287338 h 287642"/>
              <a:gd name="T12" fmla="*/ 17694720 60000 65536"/>
              <a:gd name="T13" fmla="*/ 0 60000 65536"/>
              <a:gd name="T14" fmla="*/ 5898240 60000 65536"/>
              <a:gd name="T15" fmla="*/ 11796480 60000 65536"/>
              <a:gd name="T16" fmla="*/ 5898240 60000 65536"/>
              <a:gd name="T17" fmla="*/ 17694720 60000 65536"/>
              <a:gd name="T18" fmla="*/ 0 w 360355"/>
              <a:gd name="T19" fmla="*/ 0 h 287642"/>
              <a:gd name="T20" fmla="*/ 360355 w 360355"/>
              <a:gd name="T21" fmla="*/ 287642 h 287642"/>
            </a:gdLst>
            <a:ahLst/>
            <a:cxnLst>
              <a:cxn ang="T12">
                <a:pos x="T0" y="T1"/>
              </a:cxn>
              <a:cxn ang="T13">
                <a:pos x="T2" y="T3"/>
              </a:cxn>
              <a:cxn ang="T14">
                <a:pos x="T4" y="T5"/>
              </a:cxn>
              <a:cxn ang="T15">
                <a:pos x="T6" y="T7"/>
              </a:cxn>
              <a:cxn ang="T16">
                <a:pos x="T8" y="T9"/>
              </a:cxn>
              <a:cxn ang="T17">
                <a:pos x="T10" y="T11"/>
              </a:cxn>
            </a:cxnLst>
            <a:rect l="T18" t="T19" r="T20" b="T21"/>
            <a:pathLst>
              <a:path w="360355" h="287642">
                <a:moveTo>
                  <a:pt x="0" y="0"/>
                </a:moveTo>
                <a:lnTo>
                  <a:pt x="360355" y="287642"/>
                </a:lnTo>
              </a:path>
            </a:pathLst>
          </a:custGeom>
          <a:noFill/>
          <a:ln w="28437" cap="sq">
            <a:solidFill>
              <a:schemeClr val="tx1"/>
            </a:solidFill>
            <a:prstDash val="solid"/>
            <a:miter lim="800000"/>
            <a:headEnd/>
            <a:tailEnd type="arrow" w="med" len="med"/>
          </a:ln>
          <a:extLst>
            <a:ext uri="{909E8E84-426E-40DD-AFC4-6F175D3DCCD1}">
              <a14:hiddenFill xmlns:a14="http://schemas.microsoft.com/office/drawing/2010/main">
                <a:solidFill>
                  <a:srgbClr val="FFFFFF"/>
                </a:solidFill>
              </a14:hiddenFill>
            </a:ext>
          </a:extLst>
        </p:spPr>
        <p:txBody>
          <a:bodyPr lIns="90004" tIns="46798" rIns="90004" bIns="46798"/>
          <a:lstStyle/>
          <a:p>
            <a:endParaRPr lang="it-IT" dirty="0"/>
          </a:p>
        </p:txBody>
      </p:sp>
      <p:sp>
        <p:nvSpPr>
          <p:cNvPr id="31" name="Segnaposto testo 2">
            <a:extLst>
              <a:ext uri="{FF2B5EF4-FFF2-40B4-BE49-F238E27FC236}">
                <a16:creationId xmlns:a16="http://schemas.microsoft.com/office/drawing/2014/main" id="{ED426F20-2503-B745-BE1E-7685F2849368}"/>
              </a:ext>
            </a:extLst>
          </p:cNvPr>
          <p:cNvSpPr txBox="1">
            <a:spLocks/>
          </p:cNvSpPr>
          <p:nvPr/>
        </p:nvSpPr>
        <p:spPr>
          <a:xfrm>
            <a:off x="182000" y="1060904"/>
            <a:ext cx="3600451" cy="2149726"/>
          </a:xfrm>
          <a:prstGeom prst="rect">
            <a:avLst/>
          </a:prstGeom>
          <a:solidFill>
            <a:schemeClr val="tx2">
              <a:lumMod val="20000"/>
              <a:lumOff val="80000"/>
            </a:schemeClr>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9pPr>
          </a:lstStyle>
          <a:p>
            <a:pPr marL="0" indent="0">
              <a:lnSpc>
                <a:spcPct val="100000"/>
              </a:lnSpc>
              <a:buNone/>
              <a:defRPr/>
            </a:pPr>
            <a:r>
              <a:rPr lang="it-IT" sz="1600" dirty="0"/>
              <a:t>*POPOLAZIONE ESTESA</a:t>
            </a:r>
          </a:p>
          <a:p>
            <a:pPr marL="0" indent="0">
              <a:lnSpc>
                <a:spcPct val="100000"/>
              </a:lnSpc>
              <a:buClr>
                <a:srgbClr val="FFCC00"/>
              </a:buClr>
              <a:buSzPct val="70000"/>
              <a:buNone/>
              <a:defRPr/>
            </a:pPr>
            <a:r>
              <a:rPr lang="it-IT" sz="1400" dirty="0"/>
              <a:t>-</a:t>
            </a:r>
            <a:r>
              <a:rPr lang="it-IT" sz="1650" dirty="0"/>
              <a:t> </a:t>
            </a:r>
            <a:r>
              <a:rPr lang="it-IT" sz="1400" dirty="0"/>
              <a:t>Numerosità</a:t>
            </a:r>
          </a:p>
          <a:p>
            <a:pPr marL="0" indent="0">
              <a:lnSpc>
                <a:spcPct val="100000"/>
              </a:lnSpc>
              <a:buClr>
                <a:srgbClr val="FFCC00"/>
              </a:buClr>
              <a:buSzPct val="70000"/>
              <a:buNone/>
              <a:defRPr/>
            </a:pPr>
            <a:r>
              <a:rPr lang="it-IT" sz="1400" dirty="0"/>
              <a:t>- Età</a:t>
            </a:r>
          </a:p>
          <a:p>
            <a:pPr marL="0" indent="0">
              <a:lnSpc>
                <a:spcPct val="100000"/>
              </a:lnSpc>
              <a:buClr>
                <a:srgbClr val="FFCC00"/>
              </a:buClr>
              <a:buSzPct val="70000"/>
              <a:buNone/>
              <a:defRPr/>
            </a:pPr>
            <a:r>
              <a:rPr lang="it-IT" sz="1400" dirty="0"/>
              <a:t>- Genere</a:t>
            </a:r>
          </a:p>
          <a:p>
            <a:pPr marL="0" indent="0">
              <a:lnSpc>
                <a:spcPct val="100000"/>
              </a:lnSpc>
              <a:buClr>
                <a:srgbClr val="FFCC00"/>
              </a:buClr>
              <a:buSzPct val="70000"/>
              <a:buNone/>
              <a:defRPr/>
            </a:pPr>
            <a:r>
              <a:rPr lang="it-IT" sz="1400" dirty="0"/>
              <a:t>- </a:t>
            </a:r>
            <a:r>
              <a:rPr lang="it-IT" sz="1400" dirty="0" smtClean="0"/>
              <a:t>Patologie</a:t>
            </a:r>
            <a:endParaRPr lang="it-IT" sz="1400" dirty="0"/>
          </a:p>
          <a:p>
            <a:pPr marL="0" indent="0">
              <a:lnSpc>
                <a:spcPct val="100000"/>
              </a:lnSpc>
              <a:buClr>
                <a:srgbClr val="FFCC00"/>
              </a:buClr>
              <a:buSzPct val="70000"/>
              <a:buNone/>
              <a:defRPr/>
            </a:pPr>
            <a:r>
              <a:rPr lang="it-IT" sz="1400" dirty="0" smtClean="0"/>
              <a:t>- Stati </a:t>
            </a:r>
            <a:r>
              <a:rPr lang="it-IT" sz="1400" dirty="0"/>
              <a:t>particolari (gravidanza, disabilità</a:t>
            </a:r>
            <a:r>
              <a:rPr lang="it-IT" sz="1400" dirty="0" smtClean="0"/>
              <a:t>)</a:t>
            </a:r>
          </a:p>
          <a:p>
            <a:pPr marL="0" indent="0">
              <a:lnSpc>
                <a:spcPct val="100000"/>
              </a:lnSpc>
              <a:buClr>
                <a:srgbClr val="FFCC00"/>
              </a:buClr>
              <a:buSzPct val="70000"/>
              <a:buNone/>
              <a:defRPr/>
            </a:pPr>
            <a:endParaRPr lang="it-IT" sz="1400" dirty="0"/>
          </a:p>
        </p:txBody>
      </p:sp>
    </p:spTree>
    <p:extLst>
      <p:ext uri="{BB962C8B-B14F-4D97-AF65-F5344CB8AC3E}">
        <p14:creationId xmlns:p14="http://schemas.microsoft.com/office/powerpoint/2010/main" val="820306525"/>
      </p:ext>
    </p:extLst>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1154" name="Rectangle 2"/>
          <p:cNvSpPr>
            <a:spLocks noGrp="1" noChangeArrowheads="1"/>
          </p:cNvSpPr>
          <p:nvPr>
            <p:ph type="title"/>
          </p:nvPr>
        </p:nvSpPr>
        <p:spPr>
          <a:xfrm>
            <a:off x="3124200" y="457200"/>
            <a:ext cx="6553200" cy="838200"/>
          </a:xfrm>
          <a:ln/>
        </p:spPr>
        <p:txBody>
          <a:bodyPr/>
          <a:lstStyle/>
          <a:p>
            <a:r>
              <a:rPr lang="en-US" altLang="it-IT" sz="2800" b="1" dirty="0">
                <a:solidFill>
                  <a:srgbClr val="0070C0"/>
                </a:solidFill>
              </a:rPr>
              <a:t>   EVIDENCE LEADS PRACTICE</a:t>
            </a:r>
            <a:endParaRPr lang="nl-NL" altLang="it-IT" sz="2800" b="1" dirty="0">
              <a:solidFill>
                <a:srgbClr val="0070C0"/>
              </a:solidFill>
            </a:endParaRPr>
          </a:p>
        </p:txBody>
      </p:sp>
      <p:pic>
        <p:nvPicPr>
          <p:cNvPr id="561160" name="Picture 8" descr="berge%20stahl"/>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76400" y="1600201"/>
            <a:ext cx="8610600" cy="4227513"/>
          </a:xfrm>
          <a:prstGeom prst="rect">
            <a:avLst/>
          </a:prstGeom>
          <a:noFill/>
          <a:extLst>
            <a:ext uri="{909E8E84-426E-40DD-AFC4-6F175D3DCCD1}">
              <a14:hiddenFill xmlns:a14="http://schemas.microsoft.com/office/drawing/2010/main">
                <a:solidFill>
                  <a:srgbClr val="FFFFFF"/>
                </a:solidFill>
              </a14:hiddenFill>
            </a:ext>
          </a:extLst>
        </p:spPr>
      </p:pic>
      <p:sp>
        <p:nvSpPr>
          <p:cNvPr id="561161" name="Text Box 9"/>
          <p:cNvSpPr txBox="1">
            <a:spLocks noChangeArrowheads="1"/>
          </p:cNvSpPr>
          <p:nvPr/>
        </p:nvSpPr>
        <p:spPr bwMode="auto">
          <a:xfrm rot="101890">
            <a:off x="5256214" y="3678239"/>
            <a:ext cx="1482725"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it-IT" sz="2000" b="1">
                <a:solidFill>
                  <a:srgbClr val="CCFFCC"/>
                </a:solidFill>
                <a:latin typeface="Tahoma" pitchFamily="34" charset="0"/>
              </a:rPr>
              <a:t>PRACTICE</a:t>
            </a:r>
            <a:endParaRPr lang="nl-NL" altLang="it-IT" sz="2000" b="1">
              <a:solidFill>
                <a:srgbClr val="CCFFCC"/>
              </a:solidFill>
              <a:latin typeface="Tahoma" pitchFamily="34" charset="0"/>
            </a:endParaRPr>
          </a:p>
        </p:txBody>
      </p:sp>
      <p:sp>
        <p:nvSpPr>
          <p:cNvPr id="561162" name="Text Box 10"/>
          <p:cNvSpPr txBox="1">
            <a:spLocks noChangeArrowheads="1"/>
          </p:cNvSpPr>
          <p:nvPr/>
        </p:nvSpPr>
        <p:spPr bwMode="auto">
          <a:xfrm rot="472824">
            <a:off x="2498725" y="4953000"/>
            <a:ext cx="768350" cy="27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it-IT" sz="1200">
                <a:solidFill>
                  <a:schemeClr val="bg1"/>
                </a:solidFill>
                <a:latin typeface="Franklin Gothic Demi Cond" pitchFamily="34" charset="0"/>
              </a:rPr>
              <a:t>EVIDENCE</a:t>
            </a:r>
            <a:endParaRPr lang="nl-NL" altLang="it-IT" sz="1200">
              <a:solidFill>
                <a:schemeClr val="bg1"/>
              </a:solidFill>
              <a:latin typeface="Franklin Gothic Demi Cond" pitchFamily="34" charset="0"/>
            </a:endParaRPr>
          </a:p>
        </p:txBody>
      </p:sp>
    </p:spTree>
    <p:extLst>
      <p:ext uri="{BB962C8B-B14F-4D97-AF65-F5344CB8AC3E}">
        <p14:creationId xmlns:p14="http://schemas.microsoft.com/office/powerpoint/2010/main" val="56988274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Ov2SgNvykG8FMXeuwY5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Ov2SgNvykG8FMXeuwY5k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Ov2SgNvykG8FMXeuwY5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Ov2SgNvykG8FMXeuwY5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Ov2SgNvykG8FMXeuwY5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Ov2SgNvykG8FMXeuwY5k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Ov2SgNvykG8FMXeuwY5k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Ov2SgNvykG8FMXeuwY5kw"/>
</p:tagLst>
</file>

<file path=ppt/theme/theme1.xml><?xml version="1.0" encoding="utf-8"?>
<a:theme xmlns:a="http://schemas.openxmlformats.org/drawingml/2006/main" name="Scia di vapore">
  <a:themeElements>
    <a:clrScheme name="Scia di vapore">
      <a:dk1>
        <a:sysClr val="windowText" lastClr="000000"/>
      </a:dk1>
      <a:lt1>
        <a:sysClr val="window" lastClr="FFFFFF"/>
      </a:lt1>
      <a:dk2>
        <a:srgbClr val="454545"/>
      </a:dk2>
      <a:lt2>
        <a:srgbClr val="DADADA"/>
      </a:lt2>
      <a:accent1>
        <a:srgbClr val="E5224E"/>
      </a:accent1>
      <a:accent2>
        <a:srgbClr val="9D074E"/>
      </a:accent2>
      <a:accent3>
        <a:srgbClr val="7F2294"/>
      </a:accent3>
      <a:accent4>
        <a:srgbClr val="8D65EA"/>
      </a:accent4>
      <a:accent5>
        <a:srgbClr val="588FE2"/>
      </a:accent5>
      <a:accent6>
        <a:srgbClr val="127CA4"/>
      </a:accent6>
      <a:hlink>
        <a:srgbClr val="FB4AB6"/>
      </a:hlink>
      <a:folHlink>
        <a:srgbClr val="F98FE9"/>
      </a:folHlink>
    </a:clrScheme>
    <a:fontScheme name="Scia di vapore">
      <a:majorFont>
        <a:latin typeface="Century Gothic" panose="020B050202020202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B0502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cia di vapore">
      <a:fillStyleLst>
        <a:solidFill>
          <a:schemeClr val="phClr"/>
        </a:solidFill>
        <a:gradFill rotWithShape="1">
          <a:gsLst>
            <a:gs pos="0">
              <a:schemeClr val="phClr">
                <a:tint val="69000"/>
                <a:alpha val="100000"/>
                <a:satMod val="109000"/>
                <a:lumMod val="110000"/>
              </a:schemeClr>
            </a:gs>
            <a:gs pos="52000">
              <a:schemeClr val="phClr">
                <a:tint val="74000"/>
                <a:satMod val="100000"/>
                <a:lumMod val="104000"/>
              </a:schemeClr>
            </a:gs>
            <a:gs pos="100000">
              <a:schemeClr val="phClr">
                <a:tint val="78000"/>
                <a:satMod val="100000"/>
                <a:lumMod val="100000"/>
              </a:schemeClr>
            </a:gs>
          </a:gsLst>
          <a:lin ang="5400000" scaled="0"/>
        </a:gradFill>
        <a:gradFill rotWithShape="1">
          <a:gsLst>
            <a:gs pos="0">
              <a:schemeClr val="phClr">
                <a:tint val="96000"/>
                <a:satMod val="100000"/>
                <a:lumMod val="104000"/>
              </a:schemeClr>
            </a:gs>
            <a:gs pos="78000">
              <a:schemeClr val="phClr">
                <a:shade val="100000"/>
                <a:satMod val="110000"/>
                <a:lumMod val="100000"/>
              </a:schemeClr>
            </a:gs>
          </a:gsLst>
          <a:lin ang="5400000" scaled="0"/>
        </a:gradFill>
      </a:fillStyleLst>
      <a:lnStyleLst>
        <a:ln w="9525"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scene3d>
            <a:camera prst="orthographicFront">
              <a:rot lat="0" lon="0" rev="0"/>
            </a:camera>
            <a:lightRig rig="threePt" dir="t"/>
          </a:scene3d>
          <a:sp3d>
            <a:bevelT w="25400" h="12700"/>
          </a:sp3d>
        </a:effectStyle>
        <a:effectStyle>
          <a:effectLst>
            <a:outerShdw blurRad="57150" dist="19050" dir="5400000" algn="ctr" rotWithShape="0">
              <a:srgbClr val="000000">
                <a:alpha val="48000"/>
              </a:srgbClr>
            </a:outerShdw>
          </a:effectLst>
          <a:scene3d>
            <a:camera prst="orthographicFront">
              <a:rot lat="0" lon="0" rev="0"/>
            </a:camera>
            <a:lightRig rig="threePt" dir="t"/>
          </a:scene3d>
          <a:sp3d>
            <a:bevelT w="50800" h="25400"/>
          </a:sp3d>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apor Trail" id="{4FDF2955-7D9C-493C-B9F9-C205151B46CD}" vid="{6DB8EB18-3657-4051-A897-2ED38832359E}"/>
    </a:ext>
  </a:extLst>
</a:theme>
</file>

<file path=ppt/theme/theme2.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112</TotalTime>
  <Words>4764</Words>
  <Application>Microsoft Office PowerPoint</Application>
  <PresentationFormat>Widescreen</PresentationFormat>
  <Paragraphs>664</Paragraphs>
  <Slides>63</Slides>
  <Notes>14</Notes>
  <HiddenSlides>0</HiddenSlides>
  <MMClips>0</MMClips>
  <ScaleCrop>false</ScaleCrop>
  <HeadingPairs>
    <vt:vector size="8" baseType="variant">
      <vt:variant>
        <vt:lpstr>Caratteri utilizzati</vt:lpstr>
      </vt:variant>
      <vt:variant>
        <vt:i4>20</vt:i4>
      </vt:variant>
      <vt:variant>
        <vt:lpstr>Tema</vt:lpstr>
      </vt:variant>
      <vt:variant>
        <vt:i4>1</vt:i4>
      </vt:variant>
      <vt:variant>
        <vt:lpstr>Server OLE incorporati</vt:lpstr>
      </vt:variant>
      <vt:variant>
        <vt:i4>1</vt:i4>
      </vt:variant>
      <vt:variant>
        <vt:lpstr>Titoli diapositive</vt:lpstr>
      </vt:variant>
      <vt:variant>
        <vt:i4>63</vt:i4>
      </vt:variant>
    </vt:vector>
  </HeadingPairs>
  <TitlesOfParts>
    <vt:vector size="85" baseType="lpstr">
      <vt:lpstr>Microsoft YaHei</vt:lpstr>
      <vt:lpstr>MS Gothic</vt:lpstr>
      <vt:lpstr>ＭＳ Ｐゴシック</vt:lpstr>
      <vt:lpstr>ＭＳ Ｐゴシック</vt:lpstr>
      <vt:lpstr>Arial</vt:lpstr>
      <vt:lpstr>Calibri</vt:lpstr>
      <vt:lpstr>Century Gothic</vt:lpstr>
      <vt:lpstr>Courier New</vt:lpstr>
      <vt:lpstr>Franklin Gothic Demi Cond</vt:lpstr>
      <vt:lpstr>Gill Sans</vt:lpstr>
      <vt:lpstr>inherit</vt:lpstr>
      <vt:lpstr>Lucida Sans Unicode</vt:lpstr>
      <vt:lpstr>MS Mincho</vt:lpstr>
      <vt:lpstr>MS Pゴシック</vt:lpstr>
      <vt:lpstr>Tahoma</vt:lpstr>
      <vt:lpstr>Times New Roman</vt:lpstr>
      <vt:lpstr>Titillium Web</vt:lpstr>
      <vt:lpstr>Titillium Web SemiBold</vt:lpstr>
      <vt:lpstr>Trebuchet MS</vt:lpstr>
      <vt:lpstr>Wingdings</vt:lpstr>
      <vt:lpstr>Scia di vapore</vt:lpstr>
      <vt:lpstr>Grafico</vt:lpstr>
      <vt:lpstr>Presentazione standard di PowerPoint</vt:lpstr>
      <vt:lpstr>PROGRAMMA FARMACOECONOMIA </vt:lpstr>
      <vt:lpstr>Presentazione standard di PowerPoint</vt:lpstr>
      <vt:lpstr>Presentazione standard di PowerPoint</vt:lpstr>
      <vt:lpstr>Presentazione standard di PowerPoint</vt:lpstr>
      <vt:lpstr>Di cosa parleremo</vt:lpstr>
      <vt:lpstr>Presentazione standard di PowerPoint</vt:lpstr>
      <vt:lpstr>Presentazione standard di PowerPoint</vt:lpstr>
      <vt:lpstr>   EVIDENCE LEADS PRACTICE</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 la NON ADERENZA terapeutica </vt:lpstr>
      <vt:lpstr>Presentazione standard di PowerPoint</vt:lpstr>
      <vt:lpstr>Presentazione standard di PowerPoint</vt:lpstr>
      <vt:lpstr>COSTO DELLA NON ADERENZA</vt:lpstr>
      <vt:lpstr>Presentazione standard di PowerPoint</vt:lpstr>
      <vt:lpstr>…Più che un problema di costi sono le conseguenze  della non aderenza alla terapia</vt:lpstr>
      <vt:lpstr>Presentazione standard di PowerPoint</vt:lpstr>
      <vt:lpstr>Il rapporto OSMED in Italia</vt:lpstr>
      <vt:lpstr>Presentazione standard di PowerPoint</vt:lpstr>
      <vt:lpstr>Presentazione standard di PowerPoint</vt:lpstr>
      <vt:lpstr>Presentazione standard di PowerPoint</vt:lpstr>
      <vt:lpstr>Presentazione standard di PowerPoint</vt:lpstr>
      <vt:lpstr>Presentazione standard di PowerPoint</vt:lpstr>
      <vt:lpstr>L’IMPATTO ECONOMICO DI UNA MIGLIORE ADERENZA</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Studi FARMACOEPIDEMIOLOGICI</vt:lpstr>
      <vt:lpstr>Obiettivi della farmacoepidemiologia </vt:lpstr>
      <vt:lpstr>In che fase dello sviluppo di un farmaco vengono condotti gli studi di farmacoepidemiologia?</vt:lpstr>
      <vt:lpstr>Problemi dei clinical trials.  Le 5 S di Sturmer</vt:lpstr>
      <vt:lpstr>Rischio di alcune reazioni avverse a farmaci</vt:lpstr>
      <vt:lpstr>Rispetto agli RCT, gli studi Farmacoepidemiologici permettono di: </vt:lpstr>
      <vt:lpstr>Che tipo di dati usiamo in farmacoepidemiologia? </vt:lpstr>
      <vt:lpstr>Presentazione standard di PowerPoint</vt:lpstr>
      <vt:lpstr>Che ruolo per il farmacista SSN nella sperimentazione?</vt:lpstr>
      <vt:lpstr>Consumo ipoglicemizzanti in Italia</vt:lpstr>
      <vt:lpstr>Variazioni farmaci ipoglicemizzanti in Italia</vt:lpstr>
      <vt:lpstr>Presentazione standard di PowerPoint</vt:lpstr>
      <vt:lpstr>Fonte dei Dati</vt:lpstr>
      <vt:lpstr>DISEGNO DELLO STUDIO</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Riassumendo</vt:lpstr>
      <vt:lpstr>Presentazione standard di PowerPoint</vt:lpstr>
      <vt:lpstr>Di cosa parleremo</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illole di biostatistica per la ricerca clinica</dc:title>
  <dc:creator>BIASINUTTO CHIARA [FA0100453]</dc:creator>
  <cp:lastModifiedBy>Stefano Palcic</cp:lastModifiedBy>
  <cp:revision>212</cp:revision>
  <dcterms:created xsi:type="dcterms:W3CDTF">2021-01-14T10:15:57Z</dcterms:created>
  <dcterms:modified xsi:type="dcterms:W3CDTF">2023-04-26T10:02:14Z</dcterms:modified>
</cp:coreProperties>
</file>